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8" r:id="rId3"/>
    <p:sldId id="260" r:id="rId4"/>
    <p:sldId id="265" r:id="rId5"/>
    <p:sldId id="266" r:id="rId6"/>
    <p:sldId id="267" r:id="rId7"/>
    <p:sldId id="268" r:id="rId8"/>
    <p:sldId id="261" r:id="rId9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21" userDrawn="1">
          <p15:clr>
            <a:srgbClr val="A4A3A4"/>
          </p15:clr>
        </p15:guide>
        <p15:guide id="2" pos="5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5D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540" y="18"/>
      </p:cViewPr>
      <p:guideLst>
        <p:guide orient="horz" pos="1321"/>
        <p:guide pos="57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com Canto Aparado do Mesmo Lado 3"/>
          <p:cNvSpPr/>
          <p:nvPr/>
        </p:nvSpPr>
        <p:spPr>
          <a:xfrm>
            <a:off x="0" y="0"/>
            <a:ext cx="5994400" cy="2451315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cxnSp>
        <p:nvCxnSpPr>
          <p:cNvPr id="5" name="Straight Connector 5"/>
          <p:cNvCxnSpPr/>
          <p:nvPr/>
        </p:nvCxnSpPr>
        <p:spPr>
          <a:xfrm>
            <a:off x="-63187" y="2451315"/>
            <a:ext cx="1314109" cy="1314109"/>
          </a:xfrm>
          <a:prstGeom prst="line">
            <a:avLst/>
          </a:prstGeom>
          <a:ln w="12700" cmpd="sng">
            <a:solidFill>
              <a:srgbClr val="5A2D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902917" y="6498294"/>
            <a:ext cx="675340" cy="192021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lvl1pPr algn="r">
              <a:defRPr lang="pt-BR" sz="1600" smtClean="0">
                <a:solidFill>
                  <a:srgbClr val="FAB900"/>
                </a:solidFill>
                <a:latin typeface="Verdana"/>
                <a:cs typeface="Verdana"/>
              </a:defRPr>
            </a:lvl1pPr>
          </a:lstStyle>
          <a:p>
            <a:fld id="{CC18E4ED-4F74-4FA7-9BF0-C7E709488C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49242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com Canto Aparado do Mesmo Lado 8"/>
          <p:cNvSpPr/>
          <p:nvPr/>
        </p:nvSpPr>
        <p:spPr>
          <a:xfrm>
            <a:off x="0" y="-119363"/>
            <a:ext cx="12346955" cy="7096725"/>
          </a:xfrm>
          <a:prstGeom prst="snip2SameRect">
            <a:avLst>
              <a:gd name="adj1" fmla="val 0"/>
              <a:gd name="adj2" fmla="val 0"/>
            </a:avLst>
          </a:prstGeom>
          <a:solidFill>
            <a:srgbClr val="5A2D9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04" y="5981538"/>
            <a:ext cx="958757" cy="958757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-63186" y="492790"/>
            <a:ext cx="631783" cy="631783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641049" y="491489"/>
            <a:ext cx="7093084" cy="531992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 smtClean="0"/>
              <a:t>Título horizontal do slide</a:t>
            </a:r>
            <a:endParaRPr lang="pt-BR" dirty="0"/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641050" y="1503643"/>
            <a:ext cx="10954141" cy="4210868"/>
          </a:xfrm>
          <a:prstGeom prst="rect">
            <a:avLst/>
          </a:prstGeom>
        </p:spPr>
        <p:txBody>
          <a:bodyPr/>
          <a:lstStyle>
            <a:lvl1pPr>
              <a:lnSpc>
                <a:spcPct val="130000"/>
              </a:lnSpc>
              <a:defRPr>
                <a:solidFill>
                  <a:srgbClr val="FFFFFF"/>
                </a:solidFill>
                <a:latin typeface="Neo Sans Pro"/>
                <a:cs typeface="Neo Sans Pro"/>
              </a:defRPr>
            </a:lvl1pPr>
            <a:lvl2pPr>
              <a:lnSpc>
                <a:spcPct val="130000"/>
              </a:lnSpc>
              <a:defRPr sz="1467">
                <a:solidFill>
                  <a:srgbClr val="FFFFFF"/>
                </a:solidFill>
                <a:latin typeface="Neo Sans Pro"/>
                <a:cs typeface="Neo Sans Pro"/>
              </a:defRPr>
            </a:lvl2pPr>
            <a:lvl3pPr>
              <a:lnSpc>
                <a:spcPct val="130000"/>
              </a:lnSpc>
              <a:defRPr sz="1467">
                <a:solidFill>
                  <a:srgbClr val="FFFFFF"/>
                </a:solidFill>
                <a:latin typeface="Neo Sans Pro"/>
                <a:cs typeface="Neo Sans Pro"/>
              </a:defRPr>
            </a:lvl3pPr>
            <a:lvl4pPr>
              <a:lnSpc>
                <a:spcPct val="130000"/>
              </a:lnSpc>
              <a:defRPr sz="1400">
                <a:solidFill>
                  <a:srgbClr val="FFFFFF"/>
                </a:solidFill>
                <a:latin typeface="Neo Sans Pro"/>
                <a:cs typeface="Neo Sans Pro"/>
              </a:defRPr>
            </a:lvl4pPr>
            <a:lvl5pPr>
              <a:lnSpc>
                <a:spcPct val="130000"/>
              </a:lnSpc>
              <a:defRPr sz="1400">
                <a:solidFill>
                  <a:srgbClr val="FFFFFF"/>
                </a:solidFill>
                <a:latin typeface="Neo Sans Pro"/>
                <a:cs typeface="Neo Sans Pro"/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13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902917" y="6498294"/>
            <a:ext cx="675340" cy="192021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lvl1pPr algn="r">
              <a:defRPr lang="pt-BR" sz="1600" smtClean="0">
                <a:solidFill>
                  <a:srgbClr val="FAB900"/>
                </a:solidFill>
                <a:latin typeface="Verdana"/>
                <a:cs typeface="Verdana"/>
              </a:defRPr>
            </a:lvl1pPr>
          </a:lstStyle>
          <a:p>
            <a:fld id="{CC18E4ED-4F74-4FA7-9BF0-C7E709488C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1485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B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com Canto Aparado do Mesmo Lado 8"/>
          <p:cNvSpPr/>
          <p:nvPr/>
        </p:nvSpPr>
        <p:spPr>
          <a:xfrm>
            <a:off x="0" y="-119363"/>
            <a:ext cx="12346955" cy="7096725"/>
          </a:xfrm>
          <a:prstGeom prst="snip2SameRect">
            <a:avLst>
              <a:gd name="adj1" fmla="val 0"/>
              <a:gd name="adj2" fmla="val 0"/>
            </a:avLst>
          </a:prstGeom>
          <a:solidFill>
            <a:srgbClr val="5A2D9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04" y="5981538"/>
            <a:ext cx="958757" cy="958757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-63186" y="492790"/>
            <a:ext cx="631783" cy="631783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641049" y="227183"/>
            <a:ext cx="7093084" cy="531992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 smtClean="0"/>
              <a:t>Título horizontal do slide</a:t>
            </a:r>
            <a:endParaRPr lang="pt-BR" dirty="0"/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641050" y="1503643"/>
            <a:ext cx="10954141" cy="4210868"/>
          </a:xfrm>
          <a:prstGeom prst="rect">
            <a:avLst/>
          </a:prstGeom>
        </p:spPr>
        <p:txBody>
          <a:bodyPr/>
          <a:lstStyle>
            <a:lvl1pPr>
              <a:lnSpc>
                <a:spcPct val="130000"/>
              </a:lnSpc>
              <a:defRPr>
                <a:solidFill>
                  <a:srgbClr val="FFFFFF"/>
                </a:solidFill>
                <a:latin typeface="Neo Sans Pro"/>
                <a:cs typeface="Neo Sans Pro"/>
              </a:defRPr>
            </a:lvl1pPr>
            <a:lvl2pPr>
              <a:lnSpc>
                <a:spcPct val="130000"/>
              </a:lnSpc>
              <a:defRPr sz="1467">
                <a:solidFill>
                  <a:srgbClr val="FFFFFF"/>
                </a:solidFill>
                <a:latin typeface="Neo Sans Pro"/>
                <a:cs typeface="Neo Sans Pro"/>
              </a:defRPr>
            </a:lvl2pPr>
            <a:lvl3pPr>
              <a:lnSpc>
                <a:spcPct val="130000"/>
              </a:lnSpc>
              <a:defRPr sz="1467">
                <a:solidFill>
                  <a:srgbClr val="FFFFFF"/>
                </a:solidFill>
                <a:latin typeface="Neo Sans Pro"/>
                <a:cs typeface="Neo Sans Pro"/>
              </a:defRPr>
            </a:lvl3pPr>
            <a:lvl4pPr>
              <a:lnSpc>
                <a:spcPct val="130000"/>
              </a:lnSpc>
              <a:defRPr sz="1400">
                <a:solidFill>
                  <a:srgbClr val="FFFFFF"/>
                </a:solidFill>
                <a:latin typeface="Neo Sans Pro"/>
                <a:cs typeface="Neo Sans Pro"/>
              </a:defRPr>
            </a:lvl4pPr>
            <a:lvl5pPr>
              <a:lnSpc>
                <a:spcPct val="130000"/>
              </a:lnSpc>
              <a:defRPr sz="1400">
                <a:solidFill>
                  <a:srgbClr val="FFFFFF"/>
                </a:solidFill>
                <a:latin typeface="Neo Sans Pro"/>
                <a:cs typeface="Neo Sans Pro"/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13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902917" y="6498294"/>
            <a:ext cx="675340" cy="192021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lvl1pPr algn="r">
              <a:defRPr lang="pt-BR" sz="1600" smtClean="0">
                <a:solidFill>
                  <a:srgbClr val="FAB900"/>
                </a:solidFill>
                <a:latin typeface="Verdana"/>
                <a:cs typeface="Verdana"/>
              </a:defRPr>
            </a:lvl1pPr>
          </a:lstStyle>
          <a:p>
            <a:fld id="{CC18E4ED-4F74-4FA7-9BF0-C7E709488C73}" type="slidenum">
              <a:rPr lang="pt-BR" smtClean="0"/>
              <a:t>‹nº›</a:t>
            </a:fld>
            <a:endParaRPr lang="pt-BR"/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641351" y="762206"/>
            <a:ext cx="10953749" cy="37588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67" baseline="0">
                <a:solidFill>
                  <a:schemeClr val="bg1"/>
                </a:solidFill>
                <a:latin typeface="Neo Sans Pro" panose="020B0504030504040204" pitchFamily="34" charset="0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pt-BR" dirty="0" smtClean="0"/>
              <a:t>subtítulo horizontal do slid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47230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 - pagi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com Canto Aparado do Mesmo Lado 3"/>
          <p:cNvSpPr/>
          <p:nvPr/>
        </p:nvSpPr>
        <p:spPr>
          <a:xfrm>
            <a:off x="0" y="-119363"/>
            <a:ext cx="12346955" cy="7096725"/>
          </a:xfrm>
          <a:prstGeom prst="snip2SameRect">
            <a:avLst>
              <a:gd name="adj1" fmla="val 0"/>
              <a:gd name="adj2" fmla="val 0"/>
            </a:avLst>
          </a:prstGeom>
          <a:solidFill>
            <a:srgbClr val="5A2D9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04" y="5981538"/>
            <a:ext cx="958757" cy="958757"/>
          </a:xfrm>
          <a:prstGeom prst="rect">
            <a:avLst/>
          </a:prstGeom>
        </p:spPr>
      </p:pic>
      <p:cxnSp>
        <p:nvCxnSpPr>
          <p:cNvPr id="5" name="Straight Connector 5"/>
          <p:cNvCxnSpPr/>
          <p:nvPr/>
        </p:nvCxnSpPr>
        <p:spPr>
          <a:xfrm>
            <a:off x="-63187" y="2451315"/>
            <a:ext cx="1314109" cy="1314109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902917" y="6498294"/>
            <a:ext cx="675340" cy="192021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lvl1pPr algn="r">
              <a:defRPr lang="pt-BR" sz="1600" smtClean="0">
                <a:solidFill>
                  <a:srgbClr val="FAB900"/>
                </a:solidFill>
                <a:latin typeface="Verdana"/>
                <a:cs typeface="Verdana"/>
              </a:defRPr>
            </a:lvl1pPr>
          </a:lstStyle>
          <a:p>
            <a:fld id="{CC18E4ED-4F74-4FA7-9BF0-C7E709488C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62818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no pagi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com Canto Aparado do Mesmo Lado 8"/>
          <p:cNvSpPr/>
          <p:nvPr/>
        </p:nvSpPr>
        <p:spPr>
          <a:xfrm>
            <a:off x="-63187" y="-119363"/>
            <a:ext cx="12346955" cy="7096725"/>
          </a:xfrm>
          <a:prstGeom prst="snip2SameRect">
            <a:avLst>
              <a:gd name="adj1" fmla="val 0"/>
              <a:gd name="adj2" fmla="val 0"/>
            </a:avLst>
          </a:prstGeom>
          <a:solidFill>
            <a:srgbClr val="5A2D9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cxnSp>
        <p:nvCxnSpPr>
          <p:cNvPr id="7" name="Straight Connector 5"/>
          <p:cNvCxnSpPr/>
          <p:nvPr/>
        </p:nvCxnSpPr>
        <p:spPr>
          <a:xfrm>
            <a:off x="-794707" y="-229668"/>
            <a:ext cx="1314109" cy="1314109"/>
          </a:xfrm>
          <a:prstGeom prst="line">
            <a:avLst/>
          </a:prstGeom>
          <a:ln w="12700" cmpd="sng">
            <a:solidFill>
              <a:srgbClr val="FFB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82"/>
          <a:stretch/>
        </p:blipFill>
        <p:spPr>
          <a:xfrm>
            <a:off x="578094" y="6262373"/>
            <a:ext cx="726060" cy="442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891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com Canto Aparado do Mesmo Lado 6"/>
          <p:cNvSpPr/>
          <p:nvPr/>
        </p:nvSpPr>
        <p:spPr>
          <a:xfrm>
            <a:off x="-63187" y="-91768"/>
            <a:ext cx="12346955" cy="7096725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cxnSp>
        <p:nvCxnSpPr>
          <p:cNvPr id="6" name="Straight Connector 5"/>
          <p:cNvCxnSpPr/>
          <p:nvPr/>
        </p:nvCxnSpPr>
        <p:spPr>
          <a:xfrm>
            <a:off x="-63187" y="2451315"/>
            <a:ext cx="1314109" cy="1314109"/>
          </a:xfrm>
          <a:prstGeom prst="line">
            <a:avLst/>
          </a:prstGeom>
          <a:ln w="12700" cmpd="sng">
            <a:solidFill>
              <a:srgbClr val="FFB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1959866" y="3365765"/>
            <a:ext cx="9626797" cy="1728192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>
              <a:lnSpc>
                <a:spcPct val="100000"/>
              </a:lnSpc>
              <a:defRPr sz="5867" baseline="0">
                <a:solidFill>
                  <a:schemeClr val="bg2"/>
                </a:solidFill>
                <a:latin typeface="Dosis ExtraLight"/>
                <a:cs typeface="Dosis ExtraLight"/>
              </a:defRPr>
            </a:lvl1pPr>
          </a:lstStyle>
          <a:p>
            <a:r>
              <a:rPr lang="pt-BR" dirty="0" smtClean="0"/>
              <a:t>ADICIONE </a:t>
            </a:r>
            <a:br>
              <a:rPr lang="pt-BR" dirty="0" smtClean="0"/>
            </a:br>
            <a:r>
              <a:rPr lang="pt-BR" dirty="0" smtClean="0"/>
              <a:t>O TÍTULO</a:t>
            </a:r>
            <a:endParaRPr lang="pt-BR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59304" y="5382485"/>
            <a:ext cx="9626713" cy="8636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67" b="0" i="0" baseline="0">
                <a:solidFill>
                  <a:srgbClr val="FFB900"/>
                </a:solidFill>
                <a:latin typeface="Dosis Bold"/>
                <a:cs typeface="Dosis Bold"/>
              </a:defRPr>
            </a:lvl1pPr>
          </a:lstStyle>
          <a:p>
            <a:pPr marL="0" marR="0" lvl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adicione</a:t>
            </a:r>
            <a:r>
              <a:rPr lang="en-US" dirty="0" smtClean="0"/>
              <a:t> o sub </a:t>
            </a:r>
            <a:r>
              <a:rPr lang="en-US" dirty="0" err="1" smtClean="0"/>
              <a:t>título</a:t>
            </a:r>
            <a:endParaRPr lang="en-US" dirty="0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830"/>
          <a:stretch/>
        </p:blipFill>
        <p:spPr>
          <a:xfrm>
            <a:off x="1970089" y="1159157"/>
            <a:ext cx="2941652" cy="1878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449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com Canto Aparado do Mesmo Lado 6"/>
          <p:cNvSpPr/>
          <p:nvPr/>
        </p:nvSpPr>
        <p:spPr>
          <a:xfrm>
            <a:off x="-63187" y="-91768"/>
            <a:ext cx="12346955" cy="7096725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cxnSp>
        <p:nvCxnSpPr>
          <p:cNvPr id="6" name="Straight Connector 5"/>
          <p:cNvCxnSpPr/>
          <p:nvPr/>
        </p:nvCxnSpPr>
        <p:spPr>
          <a:xfrm>
            <a:off x="-63187" y="2451315"/>
            <a:ext cx="1314109" cy="1314109"/>
          </a:xfrm>
          <a:prstGeom prst="line">
            <a:avLst/>
          </a:prstGeom>
          <a:ln w="12700" cmpd="sng">
            <a:solidFill>
              <a:srgbClr val="FFB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1959866" y="3365765"/>
            <a:ext cx="9626797" cy="1728192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>
              <a:lnSpc>
                <a:spcPct val="100000"/>
              </a:lnSpc>
              <a:defRPr sz="5867" baseline="0">
                <a:solidFill>
                  <a:schemeClr val="bg2"/>
                </a:solidFill>
                <a:latin typeface="Dosis ExtraLight"/>
                <a:cs typeface="Dosis ExtraLight"/>
              </a:defRPr>
            </a:lvl1pPr>
          </a:lstStyle>
          <a:p>
            <a:r>
              <a:rPr lang="pt-BR" dirty="0" smtClean="0"/>
              <a:t>ADICIONE </a:t>
            </a:r>
            <a:br>
              <a:rPr lang="pt-BR" dirty="0" smtClean="0"/>
            </a:br>
            <a:r>
              <a:rPr lang="pt-BR" dirty="0" smtClean="0"/>
              <a:t>O TÍTULO</a:t>
            </a:r>
            <a:endParaRPr lang="pt-BR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59304" y="5382485"/>
            <a:ext cx="9626713" cy="8636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67" b="0" i="0" baseline="0">
                <a:solidFill>
                  <a:srgbClr val="FFB900"/>
                </a:solidFill>
                <a:latin typeface="Dosis Bold"/>
                <a:cs typeface="Dosis Bold"/>
              </a:defRPr>
            </a:lvl1pPr>
          </a:lstStyle>
          <a:p>
            <a:pPr marL="0" marR="0" lvl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adicione</a:t>
            </a:r>
            <a:r>
              <a:rPr lang="en-US" dirty="0" smtClean="0"/>
              <a:t> o sub </a:t>
            </a:r>
            <a:r>
              <a:rPr lang="en-US" dirty="0" err="1" smtClean="0"/>
              <a:t>título</a:t>
            </a:r>
            <a:endParaRPr lang="en-US" dirty="0"/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0089" y="942410"/>
            <a:ext cx="2941652" cy="2082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637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com Canto Aparado do Mesmo Lado 9"/>
          <p:cNvSpPr/>
          <p:nvPr/>
        </p:nvSpPr>
        <p:spPr>
          <a:xfrm>
            <a:off x="-63187" y="-91768"/>
            <a:ext cx="12346955" cy="7096725"/>
          </a:xfrm>
          <a:prstGeom prst="snip2SameRect">
            <a:avLst>
              <a:gd name="adj1" fmla="val 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cxnSp>
        <p:nvCxnSpPr>
          <p:cNvPr id="6" name="Straight Connector 5"/>
          <p:cNvCxnSpPr/>
          <p:nvPr/>
        </p:nvCxnSpPr>
        <p:spPr>
          <a:xfrm>
            <a:off x="10602839" y="5256429"/>
            <a:ext cx="1693179" cy="1693179"/>
          </a:xfrm>
          <a:prstGeom prst="line">
            <a:avLst/>
          </a:prstGeom>
          <a:ln w="12700" cmpd="sng">
            <a:solidFill>
              <a:srgbClr val="FFB9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39373" y="1712360"/>
            <a:ext cx="8352927" cy="3648405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10000"/>
              </a:lnSpc>
              <a:defRPr sz="7200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que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editar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o </a:t>
            </a:r>
            <a:r>
              <a:rPr lang="en-US" dirty="0" err="1" smtClean="0"/>
              <a:t>título</a:t>
            </a:r>
            <a:r>
              <a:rPr lang="en-US" dirty="0" smtClean="0"/>
              <a:t> da </a:t>
            </a:r>
            <a:r>
              <a:rPr lang="en-US" dirty="0" err="1" smtClean="0"/>
              <a:t>abertur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267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641049" y="731574"/>
            <a:ext cx="2210081" cy="1056117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>
              <a:defRPr/>
            </a:lvl1pPr>
          </a:lstStyle>
          <a:p>
            <a:r>
              <a:rPr lang="pt-BR" dirty="0" smtClean="0"/>
              <a:t>Título vertical do slide</a:t>
            </a:r>
            <a:endParaRPr lang="pt-BR" dirty="0"/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3147615" y="731574"/>
            <a:ext cx="8447575" cy="4982937"/>
          </a:xfrm>
          <a:prstGeom prst="rect">
            <a:avLst/>
          </a:prstGeom>
        </p:spPr>
        <p:txBody>
          <a:bodyPr/>
          <a:lstStyle>
            <a:lvl1pPr>
              <a:lnSpc>
                <a:spcPct val="130000"/>
              </a:lnSpc>
              <a:defRPr>
                <a:solidFill>
                  <a:schemeClr val="bg1"/>
                </a:solidFill>
                <a:latin typeface="Neo Sans Pro"/>
                <a:cs typeface="Neo Sans Pro"/>
              </a:defRPr>
            </a:lvl1pPr>
            <a:lvl2pPr>
              <a:lnSpc>
                <a:spcPct val="130000"/>
              </a:lnSpc>
              <a:defRPr sz="1467">
                <a:solidFill>
                  <a:schemeClr val="bg1"/>
                </a:solidFill>
                <a:latin typeface="Neo Sans Pro"/>
                <a:cs typeface="Neo Sans Pro"/>
              </a:defRPr>
            </a:lvl2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902917" y="6498294"/>
            <a:ext cx="675340" cy="192021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lvl1pPr algn="r">
              <a:defRPr lang="pt-BR" sz="1600" smtClean="0">
                <a:solidFill>
                  <a:srgbClr val="FAB900"/>
                </a:solidFill>
                <a:latin typeface="Verdana"/>
                <a:cs typeface="Verdana"/>
              </a:defRPr>
            </a:lvl1pPr>
          </a:lstStyle>
          <a:p>
            <a:fld id="{CC18E4ED-4F74-4FA7-9BF0-C7E709488C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90841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641049" y="731574"/>
            <a:ext cx="2210081" cy="1056117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/>
          <a:p>
            <a:r>
              <a:rPr lang="pt-BR" dirty="0" smtClean="0"/>
              <a:t>título vertical do slide</a:t>
            </a:r>
            <a:endParaRPr lang="pt-BR" dirty="0"/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919850" y="6404723"/>
            <a:ext cx="675340" cy="192021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lvl1pPr algn="r">
              <a:defRPr lang="pt-BR" sz="1600" smtClean="0">
                <a:solidFill>
                  <a:srgbClr val="FAB900"/>
                </a:solidFill>
                <a:latin typeface="Verdana"/>
                <a:cs typeface="Verdana"/>
              </a:defRPr>
            </a:lvl1pPr>
          </a:lstStyle>
          <a:p>
            <a:fld id="{CC18E4ED-4F74-4FA7-9BF0-C7E709488C73}" type="slidenum">
              <a:rPr lang="pt-BR" smtClean="0"/>
              <a:t>‹nº›</a:t>
            </a:fld>
            <a:endParaRPr lang="pt-BR"/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3147615" y="731574"/>
            <a:ext cx="8447575" cy="4982937"/>
          </a:xfrm>
          <a:prstGeom prst="rect">
            <a:avLst/>
          </a:prstGeom>
        </p:spPr>
        <p:txBody>
          <a:bodyPr/>
          <a:lstStyle>
            <a:lvl1pPr>
              <a:lnSpc>
                <a:spcPct val="130000"/>
              </a:lnSpc>
              <a:defRPr>
                <a:solidFill>
                  <a:srgbClr val="000000"/>
                </a:solidFill>
                <a:latin typeface="Neo Sans Pro"/>
                <a:cs typeface="Neo Sans Pro"/>
              </a:defRPr>
            </a:lvl1pPr>
            <a:lvl2pPr>
              <a:lnSpc>
                <a:spcPct val="130000"/>
              </a:lnSpc>
              <a:defRPr sz="1467">
                <a:solidFill>
                  <a:srgbClr val="000000"/>
                </a:solidFill>
                <a:latin typeface="Neo Sans Pro"/>
                <a:cs typeface="Neo Sans Pro"/>
              </a:defRPr>
            </a:lvl2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</p:txBody>
      </p:sp>
      <p:sp>
        <p:nvSpPr>
          <p:cNvPr id="6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641049" y="1931950"/>
            <a:ext cx="2210081" cy="1938796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67" baseline="0">
                <a:solidFill>
                  <a:schemeClr val="tx1"/>
                </a:solidFill>
                <a:latin typeface="Neo Sans Pro" panose="020B0504030504040204" pitchFamily="34" charset="0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pt-BR" dirty="0" smtClean="0"/>
              <a:t>subtítulo horizontal do slid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53966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udo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641049" y="491489"/>
            <a:ext cx="7093084" cy="531992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/>
          <a:p>
            <a:r>
              <a:rPr lang="pt-BR" dirty="0" smtClean="0"/>
              <a:t>título horizontal do slide</a:t>
            </a:r>
            <a:endParaRPr lang="pt-BR" dirty="0"/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919850" y="6430390"/>
            <a:ext cx="675340" cy="192021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lvl1pPr algn="r">
              <a:defRPr lang="pt-BR" sz="1600" smtClean="0">
                <a:solidFill>
                  <a:srgbClr val="FAB900"/>
                </a:solidFill>
                <a:latin typeface="Verdana"/>
                <a:cs typeface="Verdana"/>
              </a:defRPr>
            </a:lvl1pPr>
          </a:lstStyle>
          <a:p>
            <a:fld id="{CC18E4ED-4F74-4FA7-9BF0-C7E709488C73}" type="slidenum">
              <a:rPr lang="pt-BR" smtClean="0"/>
              <a:t>‹nº›</a:t>
            </a:fld>
            <a:endParaRPr lang="pt-BR"/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641050" y="1503643"/>
            <a:ext cx="10954141" cy="4210868"/>
          </a:xfrm>
        </p:spPr>
        <p:txBody>
          <a:bodyPr/>
          <a:lstStyle>
            <a:lvl1pPr>
              <a:lnSpc>
                <a:spcPct val="130000"/>
              </a:lnSpc>
              <a:defRPr>
                <a:solidFill>
                  <a:schemeClr val="tx1"/>
                </a:solidFill>
                <a:latin typeface="Neo Sans Pro"/>
                <a:cs typeface="Neo Sans Pro"/>
              </a:defRPr>
            </a:lvl1pPr>
            <a:lvl2pPr>
              <a:lnSpc>
                <a:spcPct val="130000"/>
              </a:lnSpc>
              <a:defRPr sz="1467">
                <a:solidFill>
                  <a:schemeClr val="tx1"/>
                </a:solidFill>
                <a:latin typeface="Neo Sans Pro"/>
                <a:cs typeface="Neo Sans Pro"/>
              </a:defRPr>
            </a:lvl2pPr>
            <a:lvl3pPr>
              <a:lnSpc>
                <a:spcPct val="130000"/>
              </a:lnSpc>
              <a:defRPr sz="1467">
                <a:solidFill>
                  <a:schemeClr val="tx1"/>
                </a:solidFill>
                <a:latin typeface="Neo Sans Pro"/>
                <a:cs typeface="Neo Sans Pro"/>
              </a:defRPr>
            </a:lvl3pPr>
            <a:lvl4pPr>
              <a:lnSpc>
                <a:spcPct val="130000"/>
              </a:lnSpc>
              <a:defRPr sz="1400">
                <a:solidFill>
                  <a:schemeClr val="tx1"/>
                </a:solidFill>
                <a:latin typeface="Neo Sans Pro"/>
                <a:cs typeface="Neo Sans Pro"/>
              </a:defRPr>
            </a:lvl4pPr>
            <a:lvl5pPr>
              <a:lnSpc>
                <a:spcPct val="130000"/>
              </a:lnSpc>
              <a:defRPr sz="1400">
                <a:solidFill>
                  <a:schemeClr val="tx1"/>
                </a:solidFill>
                <a:latin typeface="Neo Sans Pro"/>
                <a:cs typeface="Neo Sans Pro"/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201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linx_abreA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007" y="0"/>
            <a:ext cx="12296017" cy="6949608"/>
          </a:xfrm>
          <a:prstGeom prst="rect">
            <a:avLst/>
          </a:prstGeom>
          <a:ln>
            <a:solidFill>
              <a:srgbClr val="5A2D91"/>
            </a:solidFill>
          </a:ln>
        </p:spPr>
      </p:pic>
      <p:sp>
        <p:nvSpPr>
          <p:cNvPr id="9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1959865" y="3348832"/>
            <a:ext cx="7488832" cy="1728192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>
              <a:lnSpc>
                <a:spcPct val="100000"/>
              </a:lnSpc>
              <a:defRPr sz="5867" baseline="0">
                <a:solidFill>
                  <a:srgbClr val="FFB900"/>
                </a:solidFill>
                <a:latin typeface="Dosis ExtraLight"/>
                <a:cs typeface="Dosis ExtraLight"/>
              </a:defRPr>
            </a:lvl1pPr>
          </a:lstStyle>
          <a:p>
            <a:r>
              <a:rPr lang="pt-BR" dirty="0" smtClean="0"/>
              <a:t>ADICIONE </a:t>
            </a:r>
            <a:br>
              <a:rPr lang="pt-BR" dirty="0" smtClean="0"/>
            </a:br>
            <a:r>
              <a:rPr lang="pt-BR" dirty="0" smtClean="0"/>
              <a:t>O TÍTULO</a:t>
            </a:r>
            <a:endParaRPr lang="pt-BR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59303" y="5365552"/>
            <a:ext cx="7488767" cy="863600"/>
          </a:xfrm>
        </p:spPr>
        <p:txBody>
          <a:bodyPr>
            <a:normAutofit/>
          </a:bodyPr>
          <a:lstStyle>
            <a:lvl1pPr marL="0" marR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67" b="0" i="0" baseline="0">
                <a:solidFill>
                  <a:srgbClr val="FFFFFF"/>
                </a:solidFill>
                <a:latin typeface="Dosis Bold"/>
                <a:cs typeface="Dosis Bold"/>
              </a:defRPr>
            </a:lvl1pPr>
          </a:lstStyle>
          <a:p>
            <a:pPr marL="0" marR="0" lvl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adicione</a:t>
            </a:r>
            <a:r>
              <a:rPr lang="en-US" dirty="0" smtClean="0"/>
              <a:t> o sub </a:t>
            </a:r>
            <a:r>
              <a:rPr lang="en-US" dirty="0" err="1" smtClean="0"/>
              <a:t>título</a:t>
            </a:r>
            <a:endParaRPr lang="en-US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3020" y="1151505"/>
            <a:ext cx="2707049" cy="1861769"/>
          </a:xfrm>
          <a:prstGeom prst="rect">
            <a:avLst/>
          </a:prstGeom>
        </p:spPr>
      </p:pic>
      <p:cxnSp>
        <p:nvCxnSpPr>
          <p:cNvPr id="8" name="Straight Connector 5"/>
          <p:cNvCxnSpPr/>
          <p:nvPr/>
        </p:nvCxnSpPr>
        <p:spPr>
          <a:xfrm>
            <a:off x="-63187" y="2451315"/>
            <a:ext cx="1314109" cy="1314109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1870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udo B com sub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641048" y="218657"/>
            <a:ext cx="10954141" cy="531992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>
              <a:defRPr sz="3200"/>
            </a:lvl1pPr>
          </a:lstStyle>
          <a:p>
            <a:r>
              <a:rPr lang="pt-BR" dirty="0" smtClean="0"/>
              <a:t>título horizontal do slide</a:t>
            </a:r>
            <a:endParaRPr lang="pt-BR" dirty="0"/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919850" y="6430390"/>
            <a:ext cx="675340" cy="192021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lvl1pPr algn="r">
              <a:defRPr lang="pt-BR" sz="1600" smtClean="0">
                <a:solidFill>
                  <a:srgbClr val="FAB900"/>
                </a:solidFill>
                <a:latin typeface="Verdana"/>
                <a:cs typeface="Verdana"/>
              </a:defRPr>
            </a:lvl1pPr>
          </a:lstStyle>
          <a:p>
            <a:fld id="{CC18E4ED-4F74-4FA7-9BF0-C7E709488C73}" type="slidenum">
              <a:rPr lang="pt-BR" smtClean="0"/>
              <a:t>‹nº›</a:t>
            </a:fld>
            <a:endParaRPr lang="pt-BR"/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641050" y="1503643"/>
            <a:ext cx="10954141" cy="4210868"/>
          </a:xfrm>
          <a:prstGeom prst="rect">
            <a:avLst/>
          </a:prstGeom>
        </p:spPr>
        <p:txBody>
          <a:bodyPr/>
          <a:lstStyle>
            <a:lvl1pPr>
              <a:lnSpc>
                <a:spcPct val="130000"/>
              </a:lnSpc>
              <a:defRPr>
                <a:solidFill>
                  <a:schemeClr val="tx1"/>
                </a:solidFill>
                <a:latin typeface="Neo Sans Pro"/>
                <a:cs typeface="Neo Sans Pro"/>
              </a:defRPr>
            </a:lvl1pPr>
            <a:lvl2pPr>
              <a:lnSpc>
                <a:spcPct val="130000"/>
              </a:lnSpc>
              <a:defRPr sz="1467">
                <a:solidFill>
                  <a:schemeClr val="tx1"/>
                </a:solidFill>
                <a:latin typeface="Neo Sans Pro"/>
                <a:cs typeface="Neo Sans Pro"/>
              </a:defRPr>
            </a:lvl2pPr>
            <a:lvl3pPr>
              <a:lnSpc>
                <a:spcPct val="130000"/>
              </a:lnSpc>
              <a:defRPr sz="1467">
                <a:solidFill>
                  <a:schemeClr val="tx1"/>
                </a:solidFill>
                <a:latin typeface="Neo Sans Pro"/>
                <a:cs typeface="Neo Sans Pro"/>
              </a:defRPr>
            </a:lvl3pPr>
            <a:lvl4pPr>
              <a:lnSpc>
                <a:spcPct val="130000"/>
              </a:lnSpc>
              <a:defRPr sz="1400">
                <a:solidFill>
                  <a:schemeClr val="tx1"/>
                </a:solidFill>
                <a:latin typeface="Neo Sans Pro"/>
                <a:cs typeface="Neo Sans Pro"/>
              </a:defRPr>
            </a:lvl4pPr>
            <a:lvl5pPr>
              <a:lnSpc>
                <a:spcPct val="130000"/>
              </a:lnSpc>
              <a:defRPr sz="1400">
                <a:solidFill>
                  <a:schemeClr val="tx1"/>
                </a:solidFill>
                <a:latin typeface="Neo Sans Pro"/>
                <a:cs typeface="Neo Sans Pro"/>
              </a:defRPr>
            </a:lvl5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641351" y="762206"/>
            <a:ext cx="10953749" cy="37588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67" baseline="0">
                <a:solidFill>
                  <a:schemeClr val="tx1"/>
                </a:solidFill>
                <a:latin typeface="Neo Sans Pro" panose="020B0504030504040204" pitchFamily="34" charset="0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pt-BR" dirty="0" smtClean="0"/>
              <a:t>subtítulo horizontal do slid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47015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 branco - sem pagin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139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com Canto Aparado do Mesmo Lado 2"/>
          <p:cNvSpPr/>
          <p:nvPr/>
        </p:nvSpPr>
        <p:spPr>
          <a:xfrm>
            <a:off x="0" y="-68206"/>
            <a:ext cx="12319888" cy="7050897"/>
          </a:xfrm>
          <a:prstGeom prst="snip2SameRect">
            <a:avLst>
              <a:gd name="adj1" fmla="val 0"/>
              <a:gd name="adj2" fmla="val 0"/>
            </a:avLst>
          </a:prstGeom>
          <a:solidFill>
            <a:srgbClr val="FFB9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39373" y="1712360"/>
            <a:ext cx="8352927" cy="3648405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10000"/>
              </a:lnSpc>
              <a:defRPr sz="7200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que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editar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o </a:t>
            </a:r>
            <a:r>
              <a:rPr lang="en-US" dirty="0" err="1" smtClean="0"/>
              <a:t>título</a:t>
            </a:r>
            <a:r>
              <a:rPr lang="en-US" dirty="0" smtClean="0"/>
              <a:t> da </a:t>
            </a:r>
            <a:r>
              <a:rPr lang="en-US" dirty="0" err="1" smtClean="0"/>
              <a:t>abertura</a:t>
            </a:r>
            <a:endParaRPr lang="en-US" dirty="0"/>
          </a:p>
        </p:txBody>
      </p:sp>
      <p:cxnSp>
        <p:nvCxnSpPr>
          <p:cNvPr id="5" name="Straight Connector 5"/>
          <p:cNvCxnSpPr/>
          <p:nvPr/>
        </p:nvCxnSpPr>
        <p:spPr>
          <a:xfrm>
            <a:off x="10730570" y="5360766"/>
            <a:ext cx="1666052" cy="1690132"/>
          </a:xfrm>
          <a:prstGeom prst="line">
            <a:avLst/>
          </a:prstGeom>
          <a:ln w="12700" cmpd="sng">
            <a:solidFill>
              <a:srgbClr val="7030A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6121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18E4ED-4F74-4FA7-9BF0-C7E709488C73}" type="slidenum">
              <a:rPr lang="pt-BR" smtClean="0"/>
              <a:t>‹nº›</a:t>
            </a:fld>
            <a:endParaRPr lang="pt-BR"/>
          </a:p>
        </p:txBody>
      </p:sp>
      <p:sp>
        <p:nvSpPr>
          <p:cNvPr id="2" name="Retângulo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</p:spTree>
    <p:extLst>
      <p:ext uri="{BB962C8B-B14F-4D97-AF65-F5344CB8AC3E}">
        <p14:creationId xmlns:p14="http://schemas.microsoft.com/office/powerpoint/2010/main" val="4160575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linx_abreA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007" y="0"/>
            <a:ext cx="12296017" cy="6949608"/>
          </a:xfrm>
          <a:prstGeom prst="rect">
            <a:avLst/>
          </a:prstGeom>
          <a:ln>
            <a:solidFill>
              <a:srgbClr val="5A2D91"/>
            </a:solidFill>
          </a:ln>
        </p:spPr>
      </p:pic>
      <p:cxnSp>
        <p:nvCxnSpPr>
          <p:cNvPr id="11" name="Straight Connector 5"/>
          <p:cNvCxnSpPr/>
          <p:nvPr/>
        </p:nvCxnSpPr>
        <p:spPr>
          <a:xfrm>
            <a:off x="-63187" y="2451315"/>
            <a:ext cx="1314109" cy="1314109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1959865" y="3348832"/>
            <a:ext cx="7488832" cy="1728192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>
              <a:lnSpc>
                <a:spcPct val="100000"/>
              </a:lnSpc>
              <a:defRPr sz="5867" baseline="0">
                <a:solidFill>
                  <a:srgbClr val="FFB900"/>
                </a:solidFill>
                <a:latin typeface="Dosis ExtraLight"/>
                <a:cs typeface="Dosis ExtraLight"/>
              </a:defRPr>
            </a:lvl1pPr>
          </a:lstStyle>
          <a:p>
            <a:r>
              <a:rPr lang="pt-BR" dirty="0" smtClean="0"/>
              <a:t>ADICIONE </a:t>
            </a:r>
            <a:br>
              <a:rPr lang="pt-BR" dirty="0" smtClean="0"/>
            </a:br>
            <a:r>
              <a:rPr lang="pt-BR" dirty="0" smtClean="0"/>
              <a:t>O TÍTULO</a:t>
            </a:r>
            <a:endParaRPr lang="pt-BR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59303" y="5365552"/>
            <a:ext cx="7488767" cy="863600"/>
          </a:xfrm>
        </p:spPr>
        <p:txBody>
          <a:bodyPr>
            <a:normAutofit/>
          </a:bodyPr>
          <a:lstStyle>
            <a:lvl1pPr marL="0" marR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67" b="0" i="0" baseline="0">
                <a:solidFill>
                  <a:srgbClr val="FFFFFF"/>
                </a:solidFill>
                <a:latin typeface="Dosis Bold"/>
                <a:cs typeface="Dosis Bold"/>
              </a:defRPr>
            </a:lvl1pPr>
          </a:lstStyle>
          <a:p>
            <a:pPr marL="0" marR="0" lvl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adicione</a:t>
            </a:r>
            <a:r>
              <a:rPr lang="en-US" dirty="0" smtClean="0"/>
              <a:t> o sub </a:t>
            </a:r>
            <a:r>
              <a:rPr lang="en-US" dirty="0" err="1" smtClean="0"/>
              <a:t>título</a:t>
            </a:r>
            <a:endParaRPr lang="en-US" dirty="0"/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82"/>
          <a:stretch/>
        </p:blipFill>
        <p:spPr>
          <a:xfrm>
            <a:off x="2135647" y="1436975"/>
            <a:ext cx="2630315" cy="1603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093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linx_abreA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007" y="-76733"/>
            <a:ext cx="12296017" cy="7026341"/>
          </a:xfrm>
          <a:prstGeom prst="rect">
            <a:avLst/>
          </a:prstGeom>
          <a:ln>
            <a:solidFill>
              <a:srgbClr val="5A2D91"/>
            </a:solidFill>
          </a:ln>
        </p:spPr>
      </p:pic>
      <p:cxnSp>
        <p:nvCxnSpPr>
          <p:cNvPr id="6" name="Straight Connector 5"/>
          <p:cNvCxnSpPr/>
          <p:nvPr/>
        </p:nvCxnSpPr>
        <p:spPr>
          <a:xfrm>
            <a:off x="-63187" y="2451315"/>
            <a:ext cx="1314109" cy="1314109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82"/>
          <a:stretch/>
        </p:blipFill>
        <p:spPr>
          <a:xfrm>
            <a:off x="1978555" y="1297131"/>
            <a:ext cx="2893347" cy="176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079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inx_abreA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007" y="0"/>
            <a:ext cx="12296017" cy="6949608"/>
          </a:xfrm>
          <a:prstGeom prst="rect">
            <a:avLst/>
          </a:prstGeom>
          <a:ln>
            <a:solidFill>
              <a:srgbClr val="5A2D91"/>
            </a:solidFill>
          </a:ln>
        </p:spPr>
      </p:pic>
      <p:cxnSp>
        <p:nvCxnSpPr>
          <p:cNvPr id="5" name="Straight Connector 4"/>
          <p:cNvCxnSpPr/>
          <p:nvPr/>
        </p:nvCxnSpPr>
        <p:spPr>
          <a:xfrm>
            <a:off x="10602839" y="5256429"/>
            <a:ext cx="1693179" cy="1693179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39373" y="1712360"/>
            <a:ext cx="8352927" cy="3648405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10000"/>
              </a:lnSpc>
              <a:defRPr sz="7200" baseline="0">
                <a:solidFill>
                  <a:srgbClr val="FFB900"/>
                </a:solidFill>
              </a:defRPr>
            </a:lvl1pPr>
          </a:lstStyle>
          <a:p>
            <a:r>
              <a:rPr lang="en-US" dirty="0" smtClean="0"/>
              <a:t>Clique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editar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o </a:t>
            </a:r>
            <a:r>
              <a:rPr lang="en-US" dirty="0" err="1" smtClean="0"/>
              <a:t>título</a:t>
            </a:r>
            <a:r>
              <a:rPr lang="en-US" dirty="0" smtClean="0"/>
              <a:t> da </a:t>
            </a:r>
            <a:r>
              <a:rPr lang="en-US" dirty="0" err="1" smtClean="0"/>
              <a:t>abertur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61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com Canto Aparado do Mesmo Lado 2"/>
          <p:cNvSpPr/>
          <p:nvPr/>
        </p:nvSpPr>
        <p:spPr>
          <a:xfrm>
            <a:off x="-63187" y="-119363"/>
            <a:ext cx="12346955" cy="7096725"/>
          </a:xfrm>
          <a:prstGeom prst="snip2SameRect">
            <a:avLst>
              <a:gd name="adj1" fmla="val 0"/>
              <a:gd name="adj2" fmla="val 0"/>
            </a:avLst>
          </a:prstGeom>
          <a:solidFill>
            <a:srgbClr val="5A2D9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cxnSp>
        <p:nvCxnSpPr>
          <p:cNvPr id="6" name="Straight Connector 5"/>
          <p:cNvCxnSpPr/>
          <p:nvPr/>
        </p:nvCxnSpPr>
        <p:spPr>
          <a:xfrm>
            <a:off x="-63187" y="2451315"/>
            <a:ext cx="1314109" cy="1314109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1959865" y="3354779"/>
            <a:ext cx="9635324" cy="1728192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>
              <a:lnSpc>
                <a:spcPct val="100000"/>
              </a:lnSpc>
              <a:defRPr sz="5867" baseline="0">
                <a:solidFill>
                  <a:srgbClr val="FFB900"/>
                </a:solidFill>
                <a:latin typeface="Dosis ExtraLight"/>
                <a:cs typeface="Dosis ExtraLight"/>
              </a:defRPr>
            </a:lvl1pPr>
          </a:lstStyle>
          <a:p>
            <a:r>
              <a:rPr lang="pt-BR" dirty="0" smtClean="0"/>
              <a:t>ADICIONE </a:t>
            </a:r>
            <a:br>
              <a:rPr lang="pt-BR" dirty="0" smtClean="0"/>
            </a:br>
            <a:r>
              <a:rPr lang="pt-BR" dirty="0" smtClean="0"/>
              <a:t>O TÍTULO</a:t>
            </a:r>
            <a:endParaRPr lang="pt-BR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59303" y="5371499"/>
            <a:ext cx="9635885" cy="8636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67" b="0" i="0" baseline="0">
                <a:solidFill>
                  <a:srgbClr val="FFFFFF"/>
                </a:solidFill>
                <a:latin typeface="Dosis Bold"/>
                <a:cs typeface="Dosis Bold"/>
              </a:defRPr>
            </a:lvl1pPr>
          </a:lstStyle>
          <a:p>
            <a:pPr marL="0" marR="0" lvl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adicione</a:t>
            </a:r>
            <a:r>
              <a:rPr lang="en-US" dirty="0" smtClean="0"/>
              <a:t> o sub </a:t>
            </a:r>
            <a:r>
              <a:rPr lang="en-US" dirty="0" err="1" smtClean="0"/>
              <a:t>título</a:t>
            </a:r>
            <a:endParaRPr lang="en-US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8555" y="1066940"/>
            <a:ext cx="2893347" cy="2047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617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com Canto Aparado do Mesmo Lado 2"/>
          <p:cNvSpPr/>
          <p:nvPr/>
        </p:nvSpPr>
        <p:spPr>
          <a:xfrm>
            <a:off x="-63187" y="-119363"/>
            <a:ext cx="12346955" cy="7096725"/>
          </a:xfrm>
          <a:prstGeom prst="snip2SameRect">
            <a:avLst>
              <a:gd name="adj1" fmla="val 0"/>
              <a:gd name="adj2" fmla="val 0"/>
            </a:avLst>
          </a:prstGeom>
          <a:solidFill>
            <a:srgbClr val="5A2D9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cxnSp>
        <p:nvCxnSpPr>
          <p:cNvPr id="6" name="Straight Connector 5"/>
          <p:cNvCxnSpPr/>
          <p:nvPr/>
        </p:nvCxnSpPr>
        <p:spPr>
          <a:xfrm>
            <a:off x="-63187" y="2451315"/>
            <a:ext cx="1314109" cy="1314109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1959865" y="3354779"/>
            <a:ext cx="7488832" cy="1728192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>
              <a:lnSpc>
                <a:spcPct val="100000"/>
              </a:lnSpc>
              <a:defRPr sz="5867" baseline="0">
                <a:solidFill>
                  <a:srgbClr val="FFB900"/>
                </a:solidFill>
                <a:latin typeface="Dosis ExtraLight"/>
                <a:cs typeface="Dosis ExtraLight"/>
              </a:defRPr>
            </a:lvl1pPr>
          </a:lstStyle>
          <a:p>
            <a:r>
              <a:rPr lang="pt-BR" dirty="0" smtClean="0"/>
              <a:t>ADICIONE </a:t>
            </a:r>
            <a:br>
              <a:rPr lang="pt-BR" dirty="0" smtClean="0"/>
            </a:br>
            <a:r>
              <a:rPr lang="pt-BR" dirty="0" smtClean="0"/>
              <a:t>O TÍTULO</a:t>
            </a:r>
            <a:endParaRPr lang="pt-BR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59303" y="5371499"/>
            <a:ext cx="7488767" cy="8636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667" b="0" i="0" baseline="0">
                <a:solidFill>
                  <a:srgbClr val="FFFFFF"/>
                </a:solidFill>
                <a:latin typeface="Dosis Bold"/>
                <a:cs typeface="Dosis Bold"/>
              </a:defRPr>
            </a:lvl1pPr>
          </a:lstStyle>
          <a:p>
            <a:pPr marL="0" marR="0" lvl="0" indent="0" algn="l" defTabSz="12188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 smtClean="0"/>
              <a:t>adicione</a:t>
            </a:r>
            <a:r>
              <a:rPr lang="en-US" dirty="0" smtClean="0"/>
              <a:t> o sub </a:t>
            </a:r>
            <a:r>
              <a:rPr lang="en-US" dirty="0" err="1" smtClean="0"/>
              <a:t>título</a:t>
            </a:r>
            <a:endParaRPr lang="en-US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82"/>
          <a:stretch/>
        </p:blipFill>
        <p:spPr>
          <a:xfrm>
            <a:off x="1978555" y="1297131"/>
            <a:ext cx="2893347" cy="1763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618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com Canto Aparado do Mesmo Lado 5"/>
          <p:cNvSpPr/>
          <p:nvPr/>
        </p:nvSpPr>
        <p:spPr>
          <a:xfrm>
            <a:off x="-63187" y="-91768"/>
            <a:ext cx="12346955" cy="7096725"/>
          </a:xfrm>
          <a:prstGeom prst="snip2SameRect">
            <a:avLst>
              <a:gd name="adj1" fmla="val 0"/>
              <a:gd name="adj2" fmla="val 0"/>
            </a:avLst>
          </a:prstGeom>
          <a:solidFill>
            <a:srgbClr val="5A2D9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cxnSp>
        <p:nvCxnSpPr>
          <p:cNvPr id="5" name="Straight Connector 4"/>
          <p:cNvCxnSpPr/>
          <p:nvPr/>
        </p:nvCxnSpPr>
        <p:spPr>
          <a:xfrm>
            <a:off x="10602839" y="5256429"/>
            <a:ext cx="1693179" cy="1693179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39373" y="1712360"/>
            <a:ext cx="8352927" cy="3648405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10000"/>
              </a:lnSpc>
              <a:defRPr sz="7200" baseline="0">
                <a:solidFill>
                  <a:srgbClr val="FFB900"/>
                </a:solidFill>
              </a:defRPr>
            </a:lvl1pPr>
          </a:lstStyle>
          <a:p>
            <a:r>
              <a:rPr lang="en-US" dirty="0" smtClean="0"/>
              <a:t>Clique </a:t>
            </a:r>
            <a:r>
              <a:rPr lang="en-US" dirty="0" err="1" smtClean="0"/>
              <a:t>para</a:t>
            </a:r>
            <a:r>
              <a:rPr lang="en-US" dirty="0" smtClean="0"/>
              <a:t> </a:t>
            </a:r>
            <a:r>
              <a:rPr lang="en-US" dirty="0" err="1" smtClean="0"/>
              <a:t>editar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o </a:t>
            </a:r>
            <a:r>
              <a:rPr lang="en-US" dirty="0" err="1" smtClean="0"/>
              <a:t>título</a:t>
            </a:r>
            <a:r>
              <a:rPr lang="en-US" dirty="0" smtClean="0"/>
              <a:t> da </a:t>
            </a:r>
            <a:r>
              <a:rPr lang="en-US" dirty="0" err="1" smtClean="0"/>
              <a:t>abertur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324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com Canto Aparado do Mesmo Lado 8"/>
          <p:cNvSpPr/>
          <p:nvPr/>
        </p:nvSpPr>
        <p:spPr>
          <a:xfrm>
            <a:off x="0" y="-119363"/>
            <a:ext cx="12346955" cy="7096725"/>
          </a:xfrm>
          <a:prstGeom prst="snip2SameRect">
            <a:avLst>
              <a:gd name="adj1" fmla="val 0"/>
              <a:gd name="adj2" fmla="val 0"/>
            </a:avLst>
          </a:prstGeom>
          <a:solidFill>
            <a:srgbClr val="5A2D9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04" y="5981538"/>
            <a:ext cx="958757" cy="958757"/>
          </a:xfrm>
          <a:prstGeom prst="rect">
            <a:avLst/>
          </a:prstGeom>
        </p:spPr>
      </p:pic>
      <p:cxnSp>
        <p:nvCxnSpPr>
          <p:cNvPr id="13" name="Straight Connector 8"/>
          <p:cNvCxnSpPr/>
          <p:nvPr/>
        </p:nvCxnSpPr>
        <p:spPr>
          <a:xfrm>
            <a:off x="-63186" y="492790"/>
            <a:ext cx="631783" cy="631783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902917" y="6498294"/>
            <a:ext cx="675340" cy="192021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lvl1pPr algn="r">
              <a:defRPr lang="pt-BR" sz="1600" smtClean="0">
                <a:solidFill>
                  <a:srgbClr val="FAB900"/>
                </a:solidFill>
                <a:latin typeface="Verdana"/>
                <a:cs typeface="Verdana"/>
              </a:defRPr>
            </a:lvl1pPr>
          </a:lstStyle>
          <a:p>
            <a:fld id="{CC18E4ED-4F74-4FA7-9BF0-C7E709488C73}" type="slidenum">
              <a:rPr lang="pt-BR" smtClean="0"/>
              <a:t>‹nº›</a:t>
            </a:fld>
            <a:endParaRPr lang="pt-BR"/>
          </a:p>
        </p:txBody>
      </p:sp>
      <p:sp>
        <p:nvSpPr>
          <p:cNvPr id="8" name="Espaço Reservado para Título 1"/>
          <p:cNvSpPr>
            <a:spLocks noGrp="1"/>
          </p:cNvSpPr>
          <p:nvPr>
            <p:ph type="title" hasCustomPrompt="1"/>
          </p:nvPr>
        </p:nvSpPr>
        <p:spPr>
          <a:xfrm>
            <a:off x="641049" y="731574"/>
            <a:ext cx="2210081" cy="1056117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pt-BR" dirty="0" smtClean="0"/>
              <a:t>título vertical do slide</a:t>
            </a:r>
            <a:endParaRPr lang="pt-BR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3147615" y="731574"/>
            <a:ext cx="8447575" cy="4982937"/>
          </a:xfrm>
        </p:spPr>
        <p:txBody>
          <a:bodyPr/>
          <a:lstStyle>
            <a:lvl1pPr>
              <a:lnSpc>
                <a:spcPct val="130000"/>
              </a:lnSpc>
              <a:defRPr>
                <a:solidFill>
                  <a:srgbClr val="FFFFFF"/>
                </a:solidFill>
                <a:latin typeface="Neo Sans Pro"/>
                <a:cs typeface="Neo Sans Pro"/>
              </a:defRPr>
            </a:lvl1pPr>
            <a:lvl2pPr>
              <a:lnSpc>
                <a:spcPct val="130000"/>
              </a:lnSpc>
              <a:defRPr sz="1467">
                <a:solidFill>
                  <a:srgbClr val="FFFFFF"/>
                </a:solidFill>
                <a:latin typeface="Neo Sans Pro"/>
                <a:cs typeface="Neo Sans Pro"/>
              </a:defRPr>
            </a:lvl2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1026850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7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16718086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" name="Slide do think-cell" r:id="rId29" imgW="421" imgH="420" progId="TCLayout.ActiveDocument.1">
                  <p:embed/>
                </p:oleObj>
              </mc:Choice>
              <mc:Fallback>
                <p:oleObj name="Slide do think-cell" r:id="rId29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ângulo com Único Canto Aparado e Arredondado 10"/>
          <p:cNvSpPr/>
          <p:nvPr/>
        </p:nvSpPr>
        <p:spPr>
          <a:xfrm>
            <a:off x="0" y="-49206"/>
            <a:ext cx="12255187" cy="7002185"/>
          </a:xfrm>
          <a:prstGeom prst="snipRoundRect">
            <a:avLst>
              <a:gd name="adj1" fmla="val 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sp>
        <p:nvSpPr>
          <p:cNvPr id="12" name="Espaço Reservado para Título 1"/>
          <p:cNvSpPr>
            <a:spLocks noGrp="1"/>
          </p:cNvSpPr>
          <p:nvPr>
            <p:ph type="title"/>
          </p:nvPr>
        </p:nvSpPr>
        <p:spPr>
          <a:xfrm>
            <a:off x="641049" y="731574"/>
            <a:ext cx="2210081" cy="1056117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/>
          <a:p>
            <a:r>
              <a:rPr lang="pt-BR" dirty="0" smtClean="0"/>
              <a:t>Editar </a:t>
            </a:r>
            <a:br>
              <a:rPr lang="pt-BR" dirty="0" smtClean="0"/>
            </a:br>
            <a:r>
              <a:rPr lang="pt-BR" dirty="0" smtClean="0"/>
              <a:t>título</a:t>
            </a:r>
            <a:endParaRPr lang="pt-BR" dirty="0"/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3147615" y="731573"/>
            <a:ext cx="8447575" cy="5440627"/>
          </a:xfrm>
          <a:prstGeom prst="rect">
            <a:avLst/>
          </a:prstGeom>
        </p:spPr>
        <p:txBody>
          <a:bodyPr vert="horz" lIns="91413" tIns="45708" rIns="91413" bIns="45708" rtlCol="0">
            <a:normAutofit/>
          </a:bodyPr>
          <a:lstStyle/>
          <a:p>
            <a:pPr lvl="0"/>
            <a:r>
              <a:rPr lang="pt-BR" dirty="0" smtClean="0"/>
              <a:t>Clique para editar o texto</a:t>
            </a:r>
          </a:p>
        </p:txBody>
      </p:sp>
      <p:cxnSp>
        <p:nvCxnSpPr>
          <p:cNvPr id="16" name="Straight Connector 5"/>
          <p:cNvCxnSpPr/>
          <p:nvPr/>
        </p:nvCxnSpPr>
        <p:spPr>
          <a:xfrm>
            <a:off x="-63186" y="492790"/>
            <a:ext cx="631783" cy="631783"/>
          </a:xfrm>
          <a:prstGeom prst="line">
            <a:avLst/>
          </a:prstGeom>
          <a:ln w="12700" cmpd="sng">
            <a:solidFill>
              <a:srgbClr val="5A2D9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Imagem 16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633" y="6254789"/>
            <a:ext cx="737400" cy="435527"/>
          </a:xfrm>
          <a:prstGeom prst="rect">
            <a:avLst/>
          </a:prstGeom>
        </p:spPr>
      </p:pic>
      <p:sp>
        <p:nvSpPr>
          <p:cNvPr id="18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902917" y="6498294"/>
            <a:ext cx="675340" cy="192021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lvl1pPr algn="r">
              <a:defRPr lang="pt-BR" sz="1600" smtClean="0">
                <a:solidFill>
                  <a:srgbClr val="FAB900"/>
                </a:solidFill>
                <a:latin typeface="Verdana"/>
                <a:cs typeface="Verdana"/>
              </a:defRPr>
            </a:lvl1pPr>
          </a:lstStyle>
          <a:p>
            <a:fld id="{CC18E4ED-4F74-4FA7-9BF0-C7E709488C73}" type="slidenum">
              <a:rPr lang="pt-BR" smtClean="0"/>
              <a:t>‹nº›</a:t>
            </a:fld>
            <a:endParaRPr lang="pt-BR"/>
          </a:p>
        </p:txBody>
      </p:sp>
      <p:graphicFrame>
        <p:nvGraphicFramePr>
          <p:cNvPr id="9" name="Objeto 8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65351139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" name="Slide do think-cell" r:id="rId32" imgW="421" imgH="420" progId="TCLayout.ActiveDocument.1">
                  <p:embed/>
                </p:oleObj>
              </mc:Choice>
              <mc:Fallback>
                <p:oleObj name="Slide do think-cell" r:id="rId32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7585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3" r:id="rId22"/>
    <p:sldLayoutId id="2147483684" r:id="rId23"/>
  </p:sldLayoutIdLst>
  <p:timing>
    <p:tnLst>
      <p:par>
        <p:cTn id="1" dur="indefinite" restart="never" nodeType="tmRoot"/>
      </p:par>
    </p:tnLst>
  </p:timing>
  <p:txStyles>
    <p:titleStyle>
      <a:lvl1pPr algn="l" defTabSz="609585" rtl="0" eaLnBrk="1" latinLnBrk="0" hangingPunct="1">
        <a:spcBef>
          <a:spcPct val="0"/>
        </a:spcBef>
        <a:buNone/>
        <a:defRPr sz="2667" kern="1200">
          <a:solidFill>
            <a:schemeClr val="bg2"/>
          </a:solidFill>
          <a:latin typeface="Dosis Bold"/>
          <a:ea typeface="+mj-ea"/>
          <a:cs typeface="Dosis Bold"/>
        </a:defRPr>
      </a:lvl1pPr>
    </p:titleStyle>
    <p:bodyStyle>
      <a:lvl1pPr marL="457189" indent="-457189" algn="l" defTabSz="609585" rtl="0" eaLnBrk="1" latinLnBrk="0" hangingPunct="1">
        <a:lnSpc>
          <a:spcPct val="130000"/>
        </a:lnSpc>
        <a:spcBef>
          <a:spcPct val="20000"/>
        </a:spcBef>
        <a:buFont typeface="Arial"/>
        <a:buChar char="•"/>
        <a:defRPr sz="1733" b="0" i="0" kern="1200">
          <a:solidFill>
            <a:schemeClr val="bg1"/>
          </a:solidFill>
          <a:latin typeface="Neo Sans Pro"/>
          <a:ea typeface="+mn-ea"/>
          <a:cs typeface="Neo Sans Pro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1733" kern="1200">
          <a:solidFill>
            <a:schemeClr val="bg1"/>
          </a:solidFill>
          <a:latin typeface="Neo Sans Pro"/>
          <a:ea typeface="+mn-ea"/>
          <a:cs typeface="Neo Sans Pro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OLICITAÇÃO DE </a:t>
            </a:r>
            <a:br>
              <a:rPr lang="pt-BR" dirty="0" smtClean="0"/>
            </a:br>
            <a:r>
              <a:rPr lang="pt-BR" dirty="0" smtClean="0"/>
              <a:t>ÍCONES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pt-BR" dirty="0" smtClean="0"/>
              <a:t>REQUISITOS PARA </a:t>
            </a:r>
          </a:p>
          <a:p>
            <a:r>
              <a:rPr lang="pt-BR" dirty="0" smtClean="0"/>
              <a:t>CONSTRUÇÃO ICONOGRAFIC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412491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5433526" y="1548735"/>
            <a:ext cx="6438122" cy="364040"/>
          </a:xfrm>
        </p:spPr>
        <p:txBody>
          <a:bodyPr/>
          <a:lstStyle/>
          <a:p>
            <a:r>
              <a:rPr lang="pt-BR" sz="1800" dirty="0" smtClean="0">
                <a:solidFill>
                  <a:schemeClr val="accent2"/>
                </a:solidFill>
                <a:latin typeface="Dosis" panose="02010503020202060003" pitchFamily="2" charset="0"/>
              </a:rPr>
              <a:t>PRINTSCREEN DA TELA DO SISTEMA</a:t>
            </a:r>
            <a:endParaRPr lang="pt-BR" sz="1800" dirty="0">
              <a:solidFill>
                <a:schemeClr val="accent2"/>
              </a:solidFill>
              <a:latin typeface="Dosis" panose="02010503020202060003" pitchFamily="2" charset="0"/>
            </a:endParaRPr>
          </a:p>
        </p:txBody>
      </p:sp>
      <p:grpSp>
        <p:nvGrpSpPr>
          <p:cNvPr id="22" name="Grupo 21"/>
          <p:cNvGrpSpPr/>
          <p:nvPr/>
        </p:nvGrpSpPr>
        <p:grpSpPr>
          <a:xfrm>
            <a:off x="5433526" y="2034075"/>
            <a:ext cx="6438122" cy="4516016"/>
            <a:chOff x="3816221" y="1614197"/>
            <a:chExt cx="6438122" cy="4516016"/>
          </a:xfrm>
        </p:grpSpPr>
        <p:sp>
          <p:nvSpPr>
            <p:cNvPr id="6" name="Arredondar Retângulo em um Canto Diagonal 5"/>
            <p:cNvSpPr/>
            <p:nvPr/>
          </p:nvSpPr>
          <p:spPr>
            <a:xfrm>
              <a:off x="3816221" y="1614197"/>
              <a:ext cx="6438122" cy="4516016"/>
            </a:xfrm>
            <a:prstGeom prst="round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smtClean="0">
                  <a:solidFill>
                    <a:schemeClr val="accent6">
                      <a:lumMod val="40000"/>
                      <a:lumOff val="60000"/>
                    </a:schemeClr>
                  </a:solidFill>
                </a:rPr>
                <a:t>A imagem servirá para análise do ícone.</a:t>
              </a:r>
              <a:endParaRPr lang="pt-BR" dirty="0">
                <a:solidFill>
                  <a:schemeClr val="accent6">
                    <a:lumMod val="40000"/>
                    <a:lumOff val="60000"/>
                  </a:schemeClr>
                </a:solidFill>
              </a:endParaRPr>
            </a:p>
          </p:txBody>
        </p:sp>
        <p:cxnSp>
          <p:nvCxnSpPr>
            <p:cNvPr id="8" name="Conector de seta reta 7"/>
            <p:cNvCxnSpPr/>
            <p:nvPr/>
          </p:nvCxnSpPr>
          <p:spPr>
            <a:xfrm>
              <a:off x="3816221" y="1614197"/>
              <a:ext cx="1020399" cy="715758"/>
            </a:xfrm>
            <a:prstGeom prst="straightConnector1">
              <a:avLst/>
            </a:prstGeom>
            <a:ln w="3175">
              <a:solidFill>
                <a:schemeClr val="accent5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ector de seta reta 9"/>
            <p:cNvCxnSpPr/>
            <p:nvPr/>
          </p:nvCxnSpPr>
          <p:spPr>
            <a:xfrm>
              <a:off x="9233944" y="5414455"/>
              <a:ext cx="1020399" cy="715758"/>
            </a:xfrm>
            <a:prstGeom prst="straightConnector1">
              <a:avLst/>
            </a:prstGeom>
            <a:ln w="3175">
              <a:solidFill>
                <a:schemeClr val="accent5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de seta reta 11"/>
            <p:cNvCxnSpPr/>
            <p:nvPr/>
          </p:nvCxnSpPr>
          <p:spPr>
            <a:xfrm flipV="1">
              <a:off x="9233944" y="1614199"/>
              <a:ext cx="1020399" cy="715756"/>
            </a:xfrm>
            <a:prstGeom prst="straightConnector1">
              <a:avLst/>
            </a:prstGeom>
            <a:ln w="3175">
              <a:solidFill>
                <a:schemeClr val="accent5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ector de seta reta 20"/>
            <p:cNvCxnSpPr/>
            <p:nvPr/>
          </p:nvCxnSpPr>
          <p:spPr>
            <a:xfrm flipV="1">
              <a:off x="3816221" y="5414456"/>
              <a:ext cx="1020399" cy="715756"/>
            </a:xfrm>
            <a:prstGeom prst="straightConnector1">
              <a:avLst/>
            </a:prstGeom>
            <a:ln w="3175">
              <a:solidFill>
                <a:schemeClr val="accent5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6" name="Tabela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7031308"/>
              </p:ext>
            </p:extLst>
          </p:nvPr>
        </p:nvGraphicFramePr>
        <p:xfrm>
          <a:off x="438539" y="2056326"/>
          <a:ext cx="4702627" cy="10332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572397"/>
                <a:gridCol w="3130230"/>
              </a:tblGrid>
              <a:tr h="288000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Segmento:</a:t>
                      </a:r>
                      <a:endParaRPr lang="pt-BR" sz="1200" b="1" dirty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b="0" dirty="0" smtClean="0">
                          <a:solidFill>
                            <a:schemeClr val="tx1"/>
                          </a:solidFill>
                          <a:latin typeface="Dosis" panose="02010503020202060003" pitchFamily="2" charset="0"/>
                        </a:rPr>
                        <a:t>Postos</a:t>
                      </a:r>
                      <a:endParaRPr lang="pt-BR" sz="1200" b="0" dirty="0">
                        <a:solidFill>
                          <a:schemeClr val="tx1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latin typeface="Dosis" panose="02010503020202060003" pitchFamily="2" charset="0"/>
                        </a:rPr>
                        <a:t>Software Linx:</a:t>
                      </a:r>
                      <a:endParaRPr lang="pt-BR" sz="1200" b="1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b="0" dirty="0" smtClean="0">
                          <a:solidFill>
                            <a:schemeClr val="tx1"/>
                          </a:solidFill>
                          <a:latin typeface="Dosis" panose="02010503020202060003" pitchFamily="2" charset="0"/>
                        </a:rPr>
                        <a:t>FASTPASS</a:t>
                      </a:r>
                      <a:endParaRPr lang="pt-BR" sz="1200" b="0" dirty="0">
                        <a:solidFill>
                          <a:schemeClr val="tx1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8000">
                <a:tc>
                  <a:txBody>
                    <a:bodyPr/>
                    <a:lstStyle/>
                    <a:p>
                      <a:r>
                        <a:rPr lang="pt-BR" sz="1200" b="1" dirty="0" smtClean="0">
                          <a:latin typeface="Dosis" panose="02010503020202060003" pitchFamily="2" charset="0"/>
                        </a:rPr>
                        <a:t>Linguagem de desenvolvimento:</a:t>
                      </a:r>
                      <a:endParaRPr lang="pt-BR" sz="1200" b="1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b="0" dirty="0" smtClean="0">
                          <a:solidFill>
                            <a:schemeClr val="tx1"/>
                          </a:solidFill>
                          <a:latin typeface="Dosis" panose="02010503020202060003" pitchFamily="2" charset="0"/>
                        </a:rPr>
                        <a:t>IONIC</a:t>
                      </a:r>
                      <a:endParaRPr lang="pt-BR" sz="1200" b="0" dirty="0">
                        <a:solidFill>
                          <a:schemeClr val="tx1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7" name="Título 3"/>
          <p:cNvSpPr txBox="1">
            <a:spLocks/>
          </p:cNvSpPr>
          <p:nvPr/>
        </p:nvSpPr>
        <p:spPr>
          <a:xfrm>
            <a:off x="793449" y="643889"/>
            <a:ext cx="7093084" cy="531992"/>
          </a:xfrm>
          <a:prstGeom prst="rect">
            <a:avLst/>
          </a:prstGeom>
        </p:spPr>
        <p:txBody>
          <a:bodyPr vert="horz" lIns="91413" tIns="45708" rIns="91413" bIns="45708" rtlCol="0" anchor="t"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2667" kern="1200">
                <a:solidFill>
                  <a:schemeClr val="bg2"/>
                </a:solidFill>
                <a:latin typeface="Dosis Bold"/>
                <a:ea typeface="+mj-ea"/>
                <a:cs typeface="Dosis Bold"/>
              </a:defRPr>
            </a:lvl1pPr>
          </a:lstStyle>
          <a:p>
            <a:r>
              <a:rPr lang="pt-BR" dirty="0" smtClean="0">
                <a:solidFill>
                  <a:schemeClr val="tx2"/>
                </a:solidFill>
              </a:rPr>
              <a:t>INFORMAÇÕES DO SOFTWARE</a:t>
            </a:r>
            <a:endParaRPr lang="pt-BR" dirty="0">
              <a:solidFill>
                <a:schemeClr val="tx2"/>
              </a:solidFill>
            </a:endParaRPr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000" y="2285472"/>
            <a:ext cx="2229568" cy="4013222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323" y="2285472"/>
            <a:ext cx="2229568" cy="4013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6973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ÍCONES FUNCIONAIS</a:t>
            </a:r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1"/>
          </p:nvPr>
        </p:nvSpPr>
        <p:spPr>
          <a:xfrm>
            <a:off x="641351" y="762206"/>
            <a:ext cx="7728208" cy="375885"/>
          </a:xfrm>
        </p:spPr>
        <p:txBody>
          <a:bodyPr/>
          <a:lstStyle/>
          <a:p>
            <a:r>
              <a:rPr lang="pt-BR" sz="1200" dirty="0"/>
              <a:t>Os ícones funcionais Linx são para </a:t>
            </a:r>
            <a:r>
              <a:rPr lang="pt-BR" sz="1200" b="1" dirty="0"/>
              <a:t>uso exclusivo nas telas de produto(software) da Linx </a:t>
            </a:r>
            <a:r>
              <a:rPr lang="pt-BR" sz="1200" dirty="0"/>
              <a:t>e devem ser utilizados para especificar funções dentro dos sistemas operacionais.</a:t>
            </a: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69786"/>
              </p:ext>
            </p:extLst>
          </p:nvPr>
        </p:nvGraphicFramePr>
        <p:xfrm>
          <a:off x="498530" y="1593807"/>
          <a:ext cx="11304693" cy="36576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130138"/>
                <a:gridCol w="2564567"/>
                <a:gridCol w="1065898"/>
                <a:gridCol w="1354412"/>
                <a:gridCol w="1594839"/>
                <a:gridCol w="159483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FUNCIONALIDADE</a:t>
                      </a:r>
                      <a:endParaRPr lang="pt-BR" sz="1200" dirty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OBJETIVO</a:t>
                      </a:r>
                      <a:endParaRPr lang="pt-BR" sz="1200" dirty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IMAGEM ATUAL</a:t>
                      </a:r>
                      <a:endParaRPr lang="pt-BR" sz="1200" dirty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TAMANHO</a:t>
                      </a:r>
                      <a:r>
                        <a:rPr lang="pt-BR" sz="14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/>
                      </a:r>
                      <a:br>
                        <a:rPr lang="pt-BR" sz="14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</a:br>
                      <a:r>
                        <a:rPr lang="pt-BR" sz="105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(WIDTH x HEIGHT)</a:t>
                      </a:r>
                      <a:endParaRPr lang="pt-BR" sz="1400" b="0" dirty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EXTENSÃO</a:t>
                      </a:r>
                      <a:r>
                        <a:rPr lang="pt-BR" sz="16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/>
                      </a:r>
                      <a:br>
                        <a:rPr lang="pt-BR" sz="16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</a:br>
                      <a:r>
                        <a:rPr lang="pt-BR" sz="120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(.</a:t>
                      </a:r>
                      <a:r>
                        <a:rPr lang="pt-BR" sz="1200" b="0" dirty="0" err="1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20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/.</a:t>
                      </a:r>
                      <a:r>
                        <a:rPr lang="pt-BR" sz="1200" b="0" dirty="0" err="1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gif</a:t>
                      </a:r>
                      <a:r>
                        <a:rPr lang="pt-BR" sz="120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/.</a:t>
                      </a:r>
                      <a:r>
                        <a:rPr lang="pt-BR" sz="1200" b="0" dirty="0" err="1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bmp</a:t>
                      </a:r>
                      <a:r>
                        <a:rPr lang="pt-BR" sz="120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/.</a:t>
                      </a:r>
                      <a:r>
                        <a:rPr lang="pt-BR" sz="1200" b="0" dirty="0" err="1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jpg</a:t>
                      </a:r>
                      <a:r>
                        <a:rPr lang="pt-BR" sz="120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)</a:t>
                      </a:r>
                      <a:endParaRPr lang="pt-BR" sz="1200" b="0" dirty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NOVA</a:t>
                      </a:r>
                      <a:r>
                        <a:rPr lang="pt-BR" sz="1200" b="1" baseline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 IMAGEM</a:t>
                      </a:r>
                      <a:endParaRPr lang="pt-BR" sz="1200" b="1" dirty="0" smtClean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Carrinho Vazio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Sem produtos inseridos no carrinho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48px X 48px</a:t>
                      </a:r>
                      <a:br>
                        <a:rPr lang="pt-BR" sz="1200" dirty="0" smtClean="0">
                          <a:latin typeface="Dosis" panose="02010503020202060003" pitchFamily="2" charset="0"/>
                        </a:rPr>
                      </a:b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) 24px X 24px</a:t>
                      </a:r>
                    </a:p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  ) 16px X 16px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.</a:t>
                      </a:r>
                      <a:r>
                        <a:rPr lang="pt-BR" sz="1400" dirty="0" err="1" smtClean="0"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 /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icon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font</a:t>
                      </a:r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Adicionar ao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Carrinho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Adicionar produtos ao carrinho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 ) 48px X 48px</a:t>
                      </a:r>
                      <a:br>
                        <a:rPr lang="pt-BR" sz="1200" dirty="0" smtClean="0">
                          <a:latin typeface="Dosis" panose="02010503020202060003" pitchFamily="2" charset="0"/>
                        </a:rPr>
                      </a:b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) 24px X 24px</a:t>
                      </a:r>
                    </a:p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  ) 16px X 16px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.</a:t>
                      </a:r>
                      <a:r>
                        <a:rPr lang="pt-BR" sz="1400" dirty="0" err="1" smtClean="0"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 /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icon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font</a:t>
                      </a:r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Adicionado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ao Carrinho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Produtos inseridos ao carrinho</a:t>
                      </a:r>
                      <a:endParaRPr lang="pt-BR" sz="1200" baseline="0" dirty="0" smtClean="0">
                        <a:latin typeface="Dosis" panose="02010503020202060003" pitchFamily="2" charset="0"/>
                      </a:endParaRPr>
                    </a:p>
                    <a:p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 ) 48px X 48px</a:t>
                      </a:r>
                      <a:br>
                        <a:rPr lang="pt-BR" sz="1200" dirty="0" smtClean="0">
                          <a:latin typeface="Dosis" panose="02010503020202060003" pitchFamily="2" charset="0"/>
                        </a:rPr>
                      </a:b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) 24px X 24px</a:t>
                      </a:r>
                    </a:p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16px X 16px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.</a:t>
                      </a:r>
                      <a:r>
                        <a:rPr lang="pt-BR" sz="1400" dirty="0" err="1" smtClean="0"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 /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icon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font</a:t>
                      </a:r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Scanner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latin typeface="Dosis" panose="02010503020202060003" pitchFamily="2" charset="0"/>
                        </a:rPr>
                        <a:t>Escanear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 códigos de barras de produtos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48px X 48px</a:t>
                      </a:r>
                      <a:br>
                        <a:rPr lang="pt-BR" sz="1200" dirty="0" smtClean="0">
                          <a:latin typeface="Dosis" panose="02010503020202060003" pitchFamily="2" charset="0"/>
                        </a:rPr>
                      </a:b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) 24px X 24px</a:t>
                      </a:r>
                    </a:p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16px X 16px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.</a:t>
                      </a:r>
                      <a:r>
                        <a:rPr lang="pt-BR" sz="1400" dirty="0" err="1" smtClean="0"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 /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icon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font</a:t>
                      </a:r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Salvar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Concluir ação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48px X 48px</a:t>
                      </a:r>
                      <a:br>
                        <a:rPr lang="pt-BR" sz="1200" dirty="0" smtClean="0">
                          <a:latin typeface="Dosis" panose="02010503020202060003" pitchFamily="2" charset="0"/>
                        </a:rPr>
                      </a:b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) 24px X 24px</a:t>
                      </a:r>
                    </a:p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) 16px X 16px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.</a:t>
                      </a:r>
                      <a:r>
                        <a:rPr lang="pt-BR" sz="1400" dirty="0" err="1" smtClean="0"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 /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icon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font</a:t>
                      </a:r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1" name="Imagem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4819" y="2173778"/>
            <a:ext cx="523875" cy="438150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2868" y="2801531"/>
            <a:ext cx="438150" cy="428625"/>
          </a:xfrm>
          <a:prstGeom prst="rect">
            <a:avLst/>
          </a:prstGeom>
        </p:spPr>
      </p:pic>
      <p:pic>
        <p:nvPicPr>
          <p:cNvPr id="23" name="Imagem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7630" y="3415633"/>
            <a:ext cx="428625" cy="447675"/>
          </a:xfrm>
          <a:prstGeom prst="rect">
            <a:avLst/>
          </a:prstGeom>
        </p:spPr>
      </p:pic>
      <p:pic>
        <p:nvPicPr>
          <p:cNvPr id="24" name="Imagem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3394" y="4072517"/>
            <a:ext cx="495300" cy="409575"/>
          </a:xfrm>
          <a:prstGeom prst="rect">
            <a:avLst/>
          </a:prstGeom>
        </p:spPr>
      </p:pic>
      <p:pic>
        <p:nvPicPr>
          <p:cNvPr id="25" name="Imagem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8644" y="4705669"/>
            <a:ext cx="400050" cy="371475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03743" y="2173778"/>
            <a:ext cx="409575" cy="35242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78638" y="2765626"/>
            <a:ext cx="476250" cy="438150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24099" y="3434682"/>
            <a:ext cx="457200" cy="409575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862736" y="4072517"/>
            <a:ext cx="485775" cy="49530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11988" y="4743769"/>
            <a:ext cx="342900" cy="33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339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ÍCONES FUNCIONAIS</a:t>
            </a:r>
            <a:endParaRPr lang="pt-BR" dirty="0"/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1"/>
          </p:nvPr>
        </p:nvSpPr>
        <p:spPr>
          <a:xfrm>
            <a:off x="641351" y="762206"/>
            <a:ext cx="7728208" cy="375885"/>
          </a:xfrm>
        </p:spPr>
        <p:txBody>
          <a:bodyPr/>
          <a:lstStyle/>
          <a:p>
            <a:r>
              <a:rPr lang="pt-BR" sz="1200" dirty="0"/>
              <a:t>Os ícones funcionais Linx são para </a:t>
            </a:r>
            <a:r>
              <a:rPr lang="pt-BR" sz="1200" b="1" dirty="0"/>
              <a:t>uso exclusivo nas telas de produto(software) da Linx </a:t>
            </a:r>
            <a:r>
              <a:rPr lang="pt-BR" sz="1200" dirty="0"/>
              <a:t>e devem ser utilizados para especificar funções dentro dos sistemas operacionais.</a:t>
            </a: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509505"/>
              </p:ext>
            </p:extLst>
          </p:nvPr>
        </p:nvGraphicFramePr>
        <p:xfrm>
          <a:off x="498530" y="1593807"/>
          <a:ext cx="11304693" cy="440388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130138"/>
                <a:gridCol w="2564567"/>
                <a:gridCol w="1065898"/>
                <a:gridCol w="1354412"/>
                <a:gridCol w="1594839"/>
                <a:gridCol w="159483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FUNCIONALIDADE</a:t>
                      </a:r>
                      <a:endParaRPr lang="pt-BR" sz="1200" dirty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OBJETIVO</a:t>
                      </a:r>
                      <a:endParaRPr lang="pt-BR" sz="1200" dirty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IMAGEM ATUAL</a:t>
                      </a:r>
                      <a:endParaRPr lang="pt-BR" sz="1200" dirty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TAMANHO</a:t>
                      </a:r>
                      <a:r>
                        <a:rPr lang="pt-BR" sz="14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/>
                      </a:r>
                      <a:br>
                        <a:rPr lang="pt-BR" sz="14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</a:br>
                      <a:r>
                        <a:rPr lang="pt-BR" sz="105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(WIDTH x HEIGHT)</a:t>
                      </a:r>
                      <a:endParaRPr lang="pt-BR" sz="1400" b="0" dirty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EXTENSÃO</a:t>
                      </a:r>
                      <a:r>
                        <a:rPr lang="pt-BR" sz="16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/>
                      </a:r>
                      <a:br>
                        <a:rPr lang="pt-BR" sz="160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</a:br>
                      <a:r>
                        <a:rPr lang="pt-BR" sz="120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(.</a:t>
                      </a:r>
                      <a:r>
                        <a:rPr lang="pt-BR" sz="1200" b="0" dirty="0" err="1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20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/.</a:t>
                      </a:r>
                      <a:r>
                        <a:rPr lang="pt-BR" sz="1200" b="0" dirty="0" err="1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gif</a:t>
                      </a:r>
                      <a:r>
                        <a:rPr lang="pt-BR" sz="120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/.</a:t>
                      </a:r>
                      <a:r>
                        <a:rPr lang="pt-BR" sz="1200" b="0" dirty="0" err="1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bmp</a:t>
                      </a:r>
                      <a:r>
                        <a:rPr lang="pt-BR" sz="120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/.</a:t>
                      </a:r>
                      <a:r>
                        <a:rPr lang="pt-BR" sz="1200" b="0" dirty="0" err="1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jpg</a:t>
                      </a:r>
                      <a:r>
                        <a:rPr lang="pt-BR" sz="1200" b="0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)</a:t>
                      </a:r>
                      <a:endParaRPr lang="pt-BR" sz="1200" b="0" dirty="0">
                        <a:solidFill>
                          <a:schemeClr val="bg2"/>
                        </a:solidFill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b="1" dirty="0" smtClean="0">
                          <a:solidFill>
                            <a:schemeClr val="bg2"/>
                          </a:solidFill>
                          <a:latin typeface="Dosis" panose="02010503020202060003" pitchFamily="2" charset="0"/>
                        </a:rPr>
                        <a:t>NOVA IMAG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Pagamento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Finalizar pagamento ou escolher forma de pagamento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 ) 48px X 48px</a:t>
                      </a:r>
                      <a:br>
                        <a:rPr lang="pt-BR" sz="1200" dirty="0" smtClean="0">
                          <a:latin typeface="Dosis" panose="02010503020202060003" pitchFamily="2" charset="0"/>
                        </a:rPr>
                      </a:b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) 24px X 24px</a:t>
                      </a:r>
                    </a:p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 ) 16px X 16px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.</a:t>
                      </a:r>
                      <a:r>
                        <a:rPr lang="pt-BR" sz="1400" dirty="0" err="1" smtClean="0"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 /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icon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font</a:t>
                      </a:r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Pagamento no caixa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Enviar pagamento ao caixa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48px X 48px</a:t>
                      </a:r>
                      <a:br>
                        <a:rPr lang="pt-BR" sz="1200" dirty="0" smtClean="0">
                          <a:latin typeface="Dosis" panose="02010503020202060003" pitchFamily="2" charset="0"/>
                        </a:rPr>
                      </a:b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) 24px X 24px</a:t>
                      </a:r>
                    </a:p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 ) 16px X 16px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.</a:t>
                      </a:r>
                      <a:r>
                        <a:rPr lang="pt-BR" sz="1400" dirty="0" err="1" smtClean="0"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 /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icon</a:t>
                      </a:r>
                      <a:r>
                        <a:rPr lang="pt-BR" sz="14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400" baseline="0" dirty="0" err="1" smtClean="0">
                          <a:latin typeface="Dosis" panose="02010503020202060003" pitchFamily="2" charset="0"/>
                        </a:rPr>
                        <a:t>font</a:t>
                      </a:r>
                      <a:endParaRPr lang="pt-BR" sz="1400" dirty="0" smtClean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96134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Cliente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latin typeface="Dosis" panose="02010503020202060003" pitchFamily="2" charset="0"/>
                        </a:rPr>
                        <a:t>Card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 de Cliente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X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48px X 48px</a:t>
                      </a:r>
                      <a:br>
                        <a:rPr lang="pt-BR" sz="1200" dirty="0" smtClean="0">
                          <a:latin typeface="Dosis" panose="02010503020202060003" pitchFamily="2" charset="0"/>
                        </a:rPr>
                      </a:b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) 24px X 24px</a:t>
                      </a:r>
                    </a:p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16px X 16px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.</a:t>
                      </a:r>
                      <a:r>
                        <a:rPr lang="pt-BR" sz="1400" dirty="0" err="1" smtClean="0"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 </a:t>
                      </a:r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3031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CRM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latin typeface="Dosis" panose="02010503020202060003" pitchFamily="2" charset="0"/>
                        </a:rPr>
                        <a:t>Card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 de CRM (Telemarketing)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48px X 48px</a:t>
                      </a:r>
                      <a:br>
                        <a:rPr lang="pt-BR" sz="1200" dirty="0" smtClean="0">
                          <a:latin typeface="Dosis" panose="02010503020202060003" pitchFamily="2" charset="0"/>
                        </a:rPr>
                      </a:b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) 24px X 24px</a:t>
                      </a:r>
                    </a:p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16px X 16px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.</a:t>
                      </a:r>
                      <a:r>
                        <a:rPr lang="pt-BR" sz="1400" dirty="0" err="1" smtClean="0"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 </a:t>
                      </a:r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Promoção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err="1" smtClean="0">
                          <a:latin typeface="Dosis" panose="02010503020202060003" pitchFamily="2" charset="0"/>
                        </a:rPr>
                        <a:t>Card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 de Promoção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X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48px X 48px</a:t>
                      </a:r>
                      <a:br>
                        <a:rPr lang="pt-BR" sz="1200" dirty="0" smtClean="0">
                          <a:latin typeface="Dosis" panose="02010503020202060003" pitchFamily="2" charset="0"/>
                        </a:rPr>
                      </a:b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X) 24px X 24px</a:t>
                      </a:r>
                    </a:p>
                    <a:p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(</a:t>
                      </a:r>
                      <a:r>
                        <a:rPr lang="pt-BR" sz="1200" baseline="0" dirty="0" smtClean="0">
                          <a:latin typeface="Dosis" panose="02010503020202060003" pitchFamily="2" charset="0"/>
                        </a:rPr>
                        <a:t> </a:t>
                      </a:r>
                      <a:r>
                        <a:rPr lang="pt-BR" sz="1200" dirty="0" smtClean="0">
                          <a:latin typeface="Dosis" panose="02010503020202060003" pitchFamily="2" charset="0"/>
                        </a:rPr>
                        <a:t>) 16px X 16px</a:t>
                      </a:r>
                      <a:endParaRPr lang="pt-BR" sz="1200" dirty="0">
                        <a:latin typeface="Dosis" panose="02010503020202060003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.</a:t>
                      </a:r>
                      <a:r>
                        <a:rPr lang="pt-BR" sz="1400" dirty="0" err="1" smtClean="0">
                          <a:latin typeface="Dosis" panose="02010503020202060003" pitchFamily="2" charset="0"/>
                        </a:rPr>
                        <a:t>png</a:t>
                      </a:r>
                      <a:r>
                        <a:rPr lang="pt-BR" sz="1400" dirty="0" smtClean="0">
                          <a:latin typeface="Dosis" panose="02010503020202060003" pitchFamily="2" charset="0"/>
                        </a:rPr>
                        <a:t> </a:t>
                      </a:r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>
                        <a:latin typeface="Dosis" panose="02010503020202060003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1466" y="2209458"/>
            <a:ext cx="476250" cy="40005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1941" y="2763074"/>
            <a:ext cx="495300" cy="4572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3288" y="2763074"/>
            <a:ext cx="514350" cy="447675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88538" y="2095158"/>
            <a:ext cx="419100" cy="514350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07638" y="2157070"/>
            <a:ext cx="457200" cy="390525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64676" y="2173873"/>
            <a:ext cx="428625" cy="390525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31912" y="3358045"/>
            <a:ext cx="756030" cy="810032"/>
          </a:xfrm>
          <a:prstGeom prst="rect">
            <a:avLst/>
          </a:prstGeom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08705" y="3358045"/>
            <a:ext cx="908679" cy="870176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31912" y="4469919"/>
            <a:ext cx="677263" cy="663154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44002" y="4365992"/>
            <a:ext cx="981337" cy="940104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10346" y="5434915"/>
            <a:ext cx="598829" cy="586608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44002" y="5434915"/>
            <a:ext cx="1007715" cy="973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358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939373" y="1105870"/>
            <a:ext cx="8352927" cy="984187"/>
          </a:xfrm>
        </p:spPr>
        <p:txBody>
          <a:bodyPr/>
          <a:lstStyle/>
          <a:p>
            <a:r>
              <a:rPr lang="pt-BR" sz="4800" dirty="0" smtClean="0"/>
              <a:t>protótipos</a:t>
            </a:r>
            <a:endParaRPr lang="pt-BR" sz="4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5836" y="90152"/>
            <a:ext cx="412851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889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939373" y="1105870"/>
            <a:ext cx="8352927" cy="984187"/>
          </a:xfrm>
        </p:spPr>
        <p:txBody>
          <a:bodyPr/>
          <a:lstStyle/>
          <a:p>
            <a:r>
              <a:rPr lang="pt-BR" sz="4800" dirty="0" smtClean="0"/>
              <a:t>protótipos</a:t>
            </a:r>
            <a:endParaRPr lang="pt-BR" sz="4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1364" y="945322"/>
            <a:ext cx="2567765" cy="5035639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5862" y="-154547"/>
            <a:ext cx="2567765" cy="5035639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6842" y="1822313"/>
            <a:ext cx="2567789" cy="5035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455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939373" y="1105870"/>
            <a:ext cx="8352927" cy="984187"/>
          </a:xfrm>
        </p:spPr>
        <p:txBody>
          <a:bodyPr/>
          <a:lstStyle/>
          <a:p>
            <a:r>
              <a:rPr lang="pt-BR" sz="4800" dirty="0" smtClean="0"/>
              <a:t>protótipos</a:t>
            </a:r>
            <a:endParaRPr lang="pt-BR" sz="48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160" y="103032"/>
            <a:ext cx="2469257" cy="4842456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9592" y="1347682"/>
            <a:ext cx="2502093" cy="4906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1360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939373" y="1105870"/>
            <a:ext cx="8352927" cy="984187"/>
          </a:xfrm>
        </p:spPr>
        <p:txBody>
          <a:bodyPr/>
          <a:lstStyle/>
          <a:p>
            <a:r>
              <a:rPr lang="pt-BR" sz="4800" dirty="0" smtClean="0"/>
              <a:t>Solicitante</a:t>
            </a:r>
            <a:endParaRPr lang="pt-BR" sz="4800" dirty="0"/>
          </a:p>
        </p:txBody>
      </p:sp>
      <p:sp>
        <p:nvSpPr>
          <p:cNvPr id="6" name="Título 4"/>
          <p:cNvSpPr txBox="1">
            <a:spLocks/>
          </p:cNvSpPr>
          <p:nvPr/>
        </p:nvSpPr>
        <p:spPr>
          <a:xfrm>
            <a:off x="939373" y="3598025"/>
            <a:ext cx="6450472" cy="739434"/>
          </a:xfrm>
          <a:prstGeom prst="rect">
            <a:avLst/>
          </a:prstGeom>
        </p:spPr>
        <p:txBody>
          <a:bodyPr vert="horz" lIns="91413" tIns="45708" rIns="91413" bIns="45708" rtlCol="0" anchor="ctr">
            <a:noAutofit/>
          </a:bodyPr>
          <a:lstStyle>
            <a:lvl1pPr algn="l" defTabSz="609585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7200" kern="1200" baseline="0">
                <a:solidFill>
                  <a:schemeClr val="tx2"/>
                </a:solidFill>
                <a:latin typeface="Dosis Bold"/>
                <a:ea typeface="+mj-ea"/>
                <a:cs typeface="Dosis Bold"/>
              </a:defRPr>
            </a:lvl1pPr>
          </a:lstStyle>
          <a:p>
            <a:r>
              <a:rPr lang="pt-BR" sz="4800" dirty="0" smtClean="0">
                <a:solidFill>
                  <a:schemeClr val="tx1"/>
                </a:solidFill>
                <a:latin typeface="Dosis" panose="02010503020202060003" pitchFamily="2" charset="0"/>
              </a:rPr>
              <a:t>Nercio Fernandes</a:t>
            </a:r>
            <a:endParaRPr lang="pt-BR" sz="4800" dirty="0">
              <a:solidFill>
                <a:schemeClr val="tx1"/>
              </a:solidFill>
              <a:latin typeface="Dosis" panose="02010503020202060003" pitchFamily="2" charset="0"/>
            </a:endParaRPr>
          </a:p>
        </p:txBody>
      </p:sp>
      <p:sp>
        <p:nvSpPr>
          <p:cNvPr id="7" name="Título 4"/>
          <p:cNvSpPr txBox="1">
            <a:spLocks/>
          </p:cNvSpPr>
          <p:nvPr/>
        </p:nvSpPr>
        <p:spPr>
          <a:xfrm>
            <a:off x="939373" y="4341766"/>
            <a:ext cx="6450472" cy="456227"/>
          </a:xfrm>
          <a:prstGeom prst="rect">
            <a:avLst/>
          </a:prstGeom>
        </p:spPr>
        <p:txBody>
          <a:bodyPr vert="horz" lIns="91413" tIns="45708" rIns="91413" bIns="45708" rtlCol="0" anchor="ctr">
            <a:noAutofit/>
          </a:bodyPr>
          <a:lstStyle>
            <a:lvl1pPr algn="l" defTabSz="609585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7200" kern="1200" baseline="0">
                <a:solidFill>
                  <a:schemeClr val="tx2"/>
                </a:solidFill>
                <a:latin typeface="Dosis Bold"/>
                <a:ea typeface="+mj-ea"/>
                <a:cs typeface="Dosis Bold"/>
              </a:defRPr>
            </a:lvl1pPr>
          </a:lstStyle>
          <a:p>
            <a:r>
              <a:rPr lang="pt-BR" sz="2800" dirty="0" smtClean="0">
                <a:solidFill>
                  <a:schemeClr val="accent6">
                    <a:lumMod val="50000"/>
                  </a:schemeClr>
                </a:solidFill>
                <a:latin typeface="Dosis" panose="02010503020202060003" pitchFamily="2" charset="0"/>
              </a:rPr>
              <a:t>nercio@linx.com.br</a:t>
            </a:r>
            <a:endParaRPr lang="pt-BR" sz="2800" dirty="0">
              <a:solidFill>
                <a:schemeClr val="accent6">
                  <a:lumMod val="50000"/>
                </a:schemeClr>
              </a:solidFill>
              <a:latin typeface="Dosis" panose="02010503020202060003" pitchFamily="2" charset="0"/>
            </a:endParaRPr>
          </a:p>
        </p:txBody>
      </p:sp>
      <p:sp>
        <p:nvSpPr>
          <p:cNvPr id="8" name="Título 4"/>
          <p:cNvSpPr txBox="1">
            <a:spLocks/>
          </p:cNvSpPr>
          <p:nvPr/>
        </p:nvSpPr>
        <p:spPr>
          <a:xfrm>
            <a:off x="939373" y="4804447"/>
            <a:ext cx="6450472" cy="456227"/>
          </a:xfrm>
          <a:prstGeom prst="rect">
            <a:avLst/>
          </a:prstGeom>
        </p:spPr>
        <p:txBody>
          <a:bodyPr vert="horz" lIns="91413" tIns="45708" rIns="91413" bIns="45708" rtlCol="0" anchor="ctr">
            <a:noAutofit/>
          </a:bodyPr>
          <a:lstStyle>
            <a:lvl1pPr algn="l" defTabSz="609585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7200" kern="1200" baseline="0">
                <a:solidFill>
                  <a:schemeClr val="tx2"/>
                </a:solidFill>
                <a:latin typeface="Dosis Bold"/>
                <a:ea typeface="+mj-ea"/>
                <a:cs typeface="Dosis Bold"/>
              </a:defRPr>
            </a:lvl1pPr>
          </a:lstStyle>
          <a:p>
            <a:r>
              <a:rPr lang="pt-BR" sz="2400" dirty="0" smtClean="0">
                <a:solidFill>
                  <a:schemeClr val="accent6">
                    <a:lumMod val="50000"/>
                  </a:schemeClr>
                </a:solidFill>
                <a:latin typeface="Dosis" panose="02010503020202060003" pitchFamily="2" charset="0"/>
              </a:rPr>
              <a:t>(11) 2103-2425</a:t>
            </a:r>
            <a:endParaRPr lang="pt-BR" sz="2400" dirty="0">
              <a:solidFill>
                <a:schemeClr val="accent6">
                  <a:lumMod val="50000"/>
                </a:schemeClr>
              </a:solidFill>
              <a:latin typeface="Dosis" panose="0201050302020206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8308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nx.3.0">
  <a:themeElements>
    <a:clrScheme name="Linx 3.0">
      <a:dk1>
        <a:srgbClr val="000000"/>
      </a:dk1>
      <a:lt1>
        <a:srgbClr val="FFFFFF"/>
      </a:lt1>
      <a:dk2>
        <a:srgbClr val="FFB900"/>
      </a:dk2>
      <a:lt2>
        <a:srgbClr val="5A2D91"/>
      </a:lt2>
      <a:accent1>
        <a:srgbClr val="280037"/>
      </a:accent1>
      <a:accent2>
        <a:srgbClr val="FF9200"/>
      </a:accent2>
      <a:accent3>
        <a:srgbClr val="5A2D91"/>
      </a:accent3>
      <a:accent4>
        <a:srgbClr val="FFB900"/>
      </a:accent4>
      <a:accent5>
        <a:srgbClr val="D4D4D4"/>
      </a:accent5>
      <a:accent6>
        <a:srgbClr val="8E8E8E"/>
      </a:accent6>
      <a:hlink>
        <a:srgbClr val="FF9200"/>
      </a:hlink>
      <a:folHlink>
        <a:srgbClr val="280037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inx.3.0" id="{6AE73CAA-9A70-4CE6-8CCC-F1549A8C95ED}" vid="{44214DFB-9B78-4E54-A231-11AF4F48110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inx.3.0</Template>
  <TotalTime>2237</TotalTime>
  <Words>274</Words>
  <Application>Microsoft Office PowerPoint</Application>
  <PresentationFormat>Widescreen</PresentationFormat>
  <Paragraphs>85</Paragraphs>
  <Slides>8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8</vt:i4>
      </vt:variant>
    </vt:vector>
  </HeadingPairs>
  <TitlesOfParts>
    <vt:vector size="17" baseType="lpstr">
      <vt:lpstr>Arial</vt:lpstr>
      <vt:lpstr>Calibri</vt:lpstr>
      <vt:lpstr>Dosis</vt:lpstr>
      <vt:lpstr>Dosis Bold</vt:lpstr>
      <vt:lpstr>Dosis ExtraLight</vt:lpstr>
      <vt:lpstr>Neo Sans Pro</vt:lpstr>
      <vt:lpstr>Verdana</vt:lpstr>
      <vt:lpstr>Linx.3.0</vt:lpstr>
      <vt:lpstr>Slide do think-cell</vt:lpstr>
      <vt:lpstr>SOLICITAÇÃO DE  ÍCONES</vt:lpstr>
      <vt:lpstr>PRINTSCREEN DA TELA DO SISTEMA</vt:lpstr>
      <vt:lpstr>ÍCONES FUNCIONAIS</vt:lpstr>
      <vt:lpstr>ÍCONES FUNCIONAIS</vt:lpstr>
      <vt:lpstr>protótipos</vt:lpstr>
      <vt:lpstr>protótipos</vt:lpstr>
      <vt:lpstr>protótipos</vt:lpstr>
      <vt:lpstr>Solicitante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ICITAÇÃO DE ÍCONES</dc:title>
  <dc:creator>Danilo de Lara</dc:creator>
  <cp:lastModifiedBy>Camila Martins Okuma</cp:lastModifiedBy>
  <cp:revision>118</cp:revision>
  <dcterms:created xsi:type="dcterms:W3CDTF">2016-03-11T14:37:54Z</dcterms:created>
  <dcterms:modified xsi:type="dcterms:W3CDTF">2016-05-11T16:18:55Z</dcterms:modified>
</cp:coreProperties>
</file>